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8D14F3-8FFA-49A4-95B8-8353A105954B}" v="29" dt="2023-01-31T22:32:19.9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7" d="100"/>
          <a:sy n="117" d="100"/>
        </p:scale>
        <p:origin x="102" y="498"/>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8:21:09.806" v="1851"/>
      <pc:docMkLst>
        <pc:docMk/>
      </pc:docMkLst>
      <pc:sldChg chg="addSp delSp modSp mod">
        <pc:chgData name="Roberto Gallardo" userId="49a044883f185952" providerId="LiveId" clId="{3DF3007B-9C7A-4F8C-96B1-A9A15E037881}" dt="2023-01-15T18:21:09.806" v="1851"/>
        <pc:sldMkLst>
          <pc:docMk/>
          <pc:sldMk cId="2846901679" sldId="256"/>
        </pc:sldMkLst>
        <pc:spChg chg="mod">
          <ac:chgData name="Roberto Gallardo" userId="49a044883f185952" providerId="LiveId" clId="{3DF3007B-9C7A-4F8C-96B1-A9A15E037881}" dt="2023-01-15T18:20:55.858" v="1848" actId="20577"/>
          <ac:spMkLst>
            <pc:docMk/>
            <pc:sldMk cId="2846901679" sldId="256"/>
            <ac:spMk id="7" creationId="{B1E0ABEC-554C-720A-2772-F0324C8E93CA}"/>
          </ac:spMkLst>
        </pc:spChg>
        <pc:cxnChg chg="add mod">
          <ac:chgData name="Roberto Gallardo" userId="49a044883f185952" providerId="LiveId" clId="{3DF3007B-9C7A-4F8C-96B1-A9A15E037881}" dt="2023-01-15T18:21:09.806" v="1851"/>
          <ac:cxnSpMkLst>
            <pc:docMk/>
            <pc:sldMk cId="2846901679" sldId="256"/>
            <ac:cxnSpMk id="2" creationId="{CBBA2F7B-391D-2786-6ADC-926B8045D203}"/>
          </ac:cxnSpMkLst>
        </pc:cxnChg>
        <pc:cxnChg chg="del mod">
          <ac:chgData name="Roberto Gallardo" userId="49a044883f185952" providerId="LiveId" clId="{3DF3007B-9C7A-4F8C-96B1-A9A15E037881}" dt="2023-01-15T18:21:02.475" v="1850" actId="478"/>
          <ac:cxnSpMkLst>
            <pc:docMk/>
            <pc:sldMk cId="2846901679" sldId="256"/>
            <ac:cxnSpMk id="10" creationId="{13EFA7DF-2E74-6B37-435B-B8B810175C14}"/>
          </ac:cxnSpMkLst>
        </pc:cxnChg>
      </pc:sldChg>
      <pc:sldChg chg="mod">
        <pc:chgData name="Roberto Gallardo" userId="49a044883f185952" providerId="LiveId" clId="{3DF3007B-9C7A-4F8C-96B1-A9A15E037881}" dt="2023-01-15T17:38:47.156" v="1447" actId="27918"/>
        <pc:sldMkLst>
          <pc:docMk/>
          <pc:sldMk cId="3231157596" sldId="257"/>
        </pc:sldMkLst>
      </pc:sldChg>
      <pc:sldChg chg="modSp mod">
        <pc:chgData name="Roberto Gallardo" userId="49a044883f185952" providerId="LiveId" clId="{3DF3007B-9C7A-4F8C-96B1-A9A15E037881}" dt="2023-01-15T17:36:12.116" v="1435"/>
        <pc:sldMkLst>
          <pc:docMk/>
          <pc:sldMk cId="3702837515" sldId="258"/>
        </pc:sldMkLst>
        <pc:graphicFrameChg chg="mod">
          <ac:chgData name="Roberto Gallardo" userId="49a044883f185952" providerId="LiveId" clId="{3DF3007B-9C7A-4F8C-96B1-A9A15E037881}" dt="2023-01-15T17:36:12.116" v="1435"/>
          <ac:graphicFrameMkLst>
            <pc:docMk/>
            <pc:sldMk cId="3702837515" sldId="258"/>
            <ac:graphicFrameMk id="9" creationId="{A966EEC7-83EF-771C-E559-BAB55F5A621C}"/>
          </ac:graphicFrameMkLst>
        </pc:graphicFrameChg>
      </pc:sldChg>
      <pc:sldChg chg="mod">
        <pc:chgData name="Roberto Gallardo" userId="49a044883f185952" providerId="LiveId" clId="{3DF3007B-9C7A-4F8C-96B1-A9A15E037881}" dt="2023-01-15T17:38:04.295" v="1441" actId="27918"/>
        <pc:sldMkLst>
          <pc:docMk/>
          <pc:sldMk cId="2519083202" sldId="259"/>
        </pc:sldMkLst>
      </pc:sldChg>
      <pc:sldChg chg="mod">
        <pc:chgData name="Roberto Gallardo" userId="49a044883f185952" providerId="LiveId" clId="{3DF3007B-9C7A-4F8C-96B1-A9A15E037881}" dt="2023-01-15T17:35:15.434" v="1428" actId="27918"/>
        <pc:sldMkLst>
          <pc:docMk/>
          <pc:sldMk cId="3877078759" sldId="260"/>
        </pc:sldMkLst>
      </pc:sldChg>
      <pc:sldChg chg="mod">
        <pc:chgData name="Roberto Gallardo" userId="49a044883f185952" providerId="LiveId" clId="{3DF3007B-9C7A-4F8C-96B1-A9A15E037881}" dt="2023-01-15T17:40:27.466" v="1459" actId="27918"/>
        <pc:sldMkLst>
          <pc:docMk/>
          <pc:sldMk cId="1175010214" sldId="261"/>
        </pc:sldMkLst>
      </pc:sldChg>
      <pc:sldChg chg="addSp delSp modSp mod">
        <pc:chgData name="Roberto Gallardo" userId="49a044883f185952" providerId="LiveId" clId="{3DF3007B-9C7A-4F8C-96B1-A9A15E037881}" dt="2023-01-15T17:41:19.581" v="1469" actId="1076"/>
        <pc:sldMkLst>
          <pc:docMk/>
          <pc:sldMk cId="1418533539" sldId="271"/>
        </pc:sldMkLst>
        <pc:picChg chg="add del mod">
          <ac:chgData name="Roberto Gallardo" userId="49a044883f185952" providerId="LiveId" clId="{3DF3007B-9C7A-4F8C-96B1-A9A15E037881}" dt="2023-01-15T17:40:42.131" v="1460" actId="478"/>
          <ac:picMkLst>
            <pc:docMk/>
            <pc:sldMk cId="1418533539" sldId="271"/>
            <ac:picMk id="6" creationId="{AA324F2A-B126-1213-F38B-7FC8BB6EC3B1}"/>
          </ac:picMkLst>
        </pc:picChg>
        <pc:picChg chg="add mod">
          <ac:chgData name="Roberto Gallardo" userId="49a044883f185952" providerId="LiveId" clId="{3DF3007B-9C7A-4F8C-96B1-A9A15E037881}" dt="2023-01-15T17:41:19.581" v="1469" actId="1076"/>
          <ac:picMkLst>
            <pc:docMk/>
            <pc:sldMk cId="1418533539" sldId="271"/>
            <ac:picMk id="7" creationId="{2F15C3FC-B04E-31FA-10E5-0CC0CA675769}"/>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5T17:39:32.744" v="1453" actId="27918"/>
        <pc:sldMkLst>
          <pc:docMk/>
          <pc:sldMk cId="2653937722" sldId="272"/>
        </pc:sldMkLst>
      </pc:sldChg>
      <pc:sldChg chg="modSp mod">
        <pc:chgData name="Roberto Gallardo" userId="49a044883f185952" providerId="LiveId" clId="{3DF3007B-9C7A-4F8C-96B1-A9A15E037881}" dt="2023-01-15T18:10:59.598" v="1790" actId="27918"/>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5T18:12:41.531" v="1831" actId="27918"/>
        <pc:sldMkLst>
          <pc:docMk/>
          <pc:sldMk cId="3802335161" sldId="274"/>
        </pc:sldMkLst>
      </pc:sldChg>
      <pc:sldChg chg="mod">
        <pc:chgData name="Roberto Gallardo" userId="49a044883f185952" providerId="LiveId" clId="{3DF3007B-9C7A-4F8C-96B1-A9A15E037881}" dt="2023-01-15T18:13:31.205" v="1842" actId="27918"/>
        <pc:sldMkLst>
          <pc:docMk/>
          <pc:sldMk cId="4292554322" sldId="275"/>
        </pc:sldMkLst>
      </pc:sldChg>
      <pc:sldChg chg="addSp delSp modSp mod">
        <pc:chgData name="Roberto Gallardo" userId="49a044883f185952" providerId="LiveId" clId="{3DF3007B-9C7A-4F8C-96B1-A9A15E037881}" dt="2023-01-15T18:12:15.143" v="1827" actId="103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5T18:12:15.143" v="1827"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5T18:11:57.965" v="1814" actId="1035"/>
          <ac:cxnSpMkLst>
            <pc:docMk/>
            <pc:sldMk cId="513409896" sldId="276"/>
            <ac:cxnSpMk id="22" creationId="{1B423FA0-E4B3-6570-929B-A9283D503787}"/>
          </ac:cxnSpMkLst>
        </pc:cxnChg>
        <pc:cxnChg chg="mod">
          <ac:chgData name="Roberto Gallardo" userId="49a044883f185952" providerId="LiveId" clId="{3DF3007B-9C7A-4F8C-96B1-A9A15E037881}" dt="2023-01-15T18:12:05.647" v="1824" actId="1036"/>
          <ac:cxnSpMkLst>
            <pc:docMk/>
            <pc:sldMk cId="513409896" sldId="276"/>
            <ac:cxnSpMk id="23" creationId="{D616797E-0044-3804-BA5A-23B8EB309CA5}"/>
          </ac:cxnSpMkLst>
        </pc:cxnChg>
        <pc:cxnChg chg="mod">
          <ac:chgData name="Roberto Gallardo" userId="49a044883f185952" providerId="LiveId" clId="{3DF3007B-9C7A-4F8C-96B1-A9A15E037881}" dt="2023-01-15T18:12:09.254" v="1825" actId="14100"/>
          <ac:cxnSpMkLst>
            <pc:docMk/>
            <pc:sldMk cId="513409896" sldId="276"/>
            <ac:cxnSpMk id="24" creationId="{20A6256E-6780-BAE0-B803-D02FE024579F}"/>
          </ac:cxnSpMkLst>
        </pc:cxnChg>
        <pc:cxnChg chg="mod">
          <ac:chgData name="Roberto Gallardo" userId="49a044883f185952" providerId="LiveId" clId="{3DF3007B-9C7A-4F8C-96B1-A9A15E037881}" dt="2023-01-15T18:11:57.965" v="1814" actId="1035"/>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Sp mod">
        <pc:chgData name="Roberto Gallardo" userId="49a044883f185952" providerId="LiveId" clId="{3DF3007B-9C7A-4F8C-96B1-A9A15E037881}" dt="2023-01-15T18:12:50.348" v="1836" actId="20577"/>
        <pc:sldMkLst>
          <pc:docMk/>
          <pc:sldMk cId="349244952" sldId="278"/>
        </pc:sldMkLst>
        <pc:spChg chg="mod">
          <ac:chgData name="Roberto Gallardo" userId="49a044883f185952" providerId="LiveId" clId="{3DF3007B-9C7A-4F8C-96B1-A9A15E037881}" dt="2023-01-15T18:12:50.348" v="1836" actId="20577"/>
          <ac:spMkLst>
            <pc:docMk/>
            <pc:sldMk cId="349244952" sldId="278"/>
            <ac:spMk id="2" creationId="{C03B1400-5F72-D252-1DBE-EDCD6E63B07C}"/>
          </ac:spMkLst>
        </pc:spChg>
      </pc:sldChg>
      <pc:sldChg chg="addSp delSp modSp mod">
        <pc:chgData name="Roberto Gallardo" userId="49a044883f185952" providerId="LiveId" clId="{3DF3007B-9C7A-4F8C-96B1-A9A15E037881}" dt="2023-01-15T17:52:03.259" v="156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5T17:52:03.259" v="1568" actId="1076"/>
          <ac:picMkLst>
            <pc:docMk/>
            <pc:sldMk cId="2124848710" sldId="281"/>
            <ac:picMk id="5" creationId="{556F29F2-6997-7A0D-E7B2-05855ADA3C54}"/>
          </ac:picMkLst>
        </pc:picChg>
        <pc:picChg chg="add del mod">
          <ac:chgData name="Roberto Gallardo" userId="49a044883f185952" providerId="LiveId" clId="{3DF3007B-9C7A-4F8C-96B1-A9A15E037881}" dt="2023-01-15T17:51:42.697" v="1559" actId="478"/>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5T17:53:44.463" v="1586" actId="1076"/>
        <pc:sldMkLst>
          <pc:docMk/>
          <pc:sldMk cId="2028175529" sldId="282"/>
        </pc:sldMkLst>
        <pc:picChg chg="add del mod">
          <ac:chgData name="Roberto Gallardo" userId="49a044883f185952" providerId="LiveId" clId="{3DF3007B-9C7A-4F8C-96B1-A9A15E037881}" dt="2023-01-15T17:53:23.706" v="1578" actId="478"/>
          <ac:picMkLst>
            <pc:docMk/>
            <pc:sldMk cId="2028175529" sldId="282"/>
            <ac:picMk id="5" creationId="{260C7A0C-0951-FADF-30D5-25F9F86F74C3}"/>
          </ac:picMkLst>
        </pc:picChg>
        <pc:picChg chg="add mod">
          <ac:chgData name="Roberto Gallardo" userId="49a044883f185952" providerId="LiveId" clId="{3DF3007B-9C7A-4F8C-96B1-A9A15E037881}" dt="2023-01-15T17:53:44.463" v="1586" actId="1076"/>
          <ac:picMkLst>
            <pc:docMk/>
            <pc:sldMk cId="2028175529" sldId="282"/>
            <ac:picMk id="8" creationId="{41D36A96-EA9A-CCB2-E305-0B946C042E36}"/>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5T17:55:02.203" v="1603" actId="1076"/>
        <pc:sldMkLst>
          <pc:docMk/>
          <pc:sldMk cId="1326517747" sldId="283"/>
        </pc:sldMkLst>
        <pc:picChg chg="add del mod">
          <ac:chgData name="Roberto Gallardo" userId="49a044883f185952" providerId="LiveId" clId="{3DF3007B-9C7A-4F8C-96B1-A9A15E037881}" dt="2023-01-15T17:54:44.105" v="1596" actId="478"/>
          <ac:picMkLst>
            <pc:docMk/>
            <pc:sldMk cId="1326517747" sldId="283"/>
            <ac:picMk id="5" creationId="{D5820370-CCF1-A1EF-BE00-D7215C0A77FB}"/>
          </ac:picMkLst>
        </pc:picChg>
        <pc:picChg chg="add mod">
          <ac:chgData name="Roberto Gallardo" userId="49a044883f185952" providerId="LiveId" clId="{3DF3007B-9C7A-4F8C-96B1-A9A15E037881}" dt="2023-01-15T17:55:02.203" v="1603" actId="1076"/>
          <ac:picMkLst>
            <pc:docMk/>
            <pc:sldMk cId="1326517747" sldId="283"/>
            <ac:picMk id="8" creationId="{8EC4580D-8F08-40A8-A137-3545A4069AA9}"/>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5T17:56:44.607" v="1620" actId="1076"/>
        <pc:sldMkLst>
          <pc:docMk/>
          <pc:sldMk cId="783739251" sldId="284"/>
        </pc:sldMkLst>
        <pc:picChg chg="add del mod">
          <ac:chgData name="Roberto Gallardo" userId="49a044883f185952" providerId="LiveId" clId="{3DF3007B-9C7A-4F8C-96B1-A9A15E037881}" dt="2023-01-15T17:56:26.034" v="1613" actId="478"/>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picChg chg="add mod">
          <ac:chgData name="Roberto Gallardo" userId="49a044883f185952" providerId="LiveId" clId="{3DF3007B-9C7A-4F8C-96B1-A9A15E037881}" dt="2023-01-15T17:56:44.607" v="1620" actId="1076"/>
          <ac:picMkLst>
            <pc:docMk/>
            <pc:sldMk cId="783739251" sldId="284"/>
            <ac:picMk id="8" creationId="{AFF3357F-A78F-9022-EB5F-1692DE80E88B}"/>
          </ac:picMkLst>
        </pc:picChg>
      </pc:sldChg>
      <pc:sldChg chg="addSp delSp modSp mod">
        <pc:chgData name="Roberto Gallardo" userId="49a044883f185952" providerId="LiveId" clId="{3DF3007B-9C7A-4F8C-96B1-A9A15E037881}" dt="2023-01-15T17:58:12.427" v="1638" actId="1076"/>
        <pc:sldMkLst>
          <pc:docMk/>
          <pc:sldMk cId="1676122233" sldId="285"/>
        </pc:sldMkLst>
        <pc:picChg chg="add del mod">
          <ac:chgData name="Roberto Gallardo" userId="49a044883f185952" providerId="LiveId" clId="{3DF3007B-9C7A-4F8C-96B1-A9A15E037881}" dt="2023-01-15T17:57:01.414" v="1621" actId="478"/>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picChg chg="add mod">
          <ac:chgData name="Roberto Gallardo" userId="49a044883f185952" providerId="LiveId" clId="{3DF3007B-9C7A-4F8C-96B1-A9A15E037881}" dt="2023-01-15T17:58:12.427" v="1638" actId="1076"/>
          <ac:picMkLst>
            <pc:docMk/>
            <pc:sldMk cId="1676122233" sldId="285"/>
            <ac:picMk id="8" creationId="{BB4A4BAA-6F00-6508-3C3D-2A227BD886F7}"/>
          </ac:picMkLst>
        </pc:picChg>
      </pc:sldChg>
      <pc:sldChg chg="addSp delSp modSp mod">
        <pc:chgData name="Roberto Gallardo" userId="49a044883f185952" providerId="LiveId" clId="{3DF3007B-9C7A-4F8C-96B1-A9A15E037881}" dt="2023-01-15T17:59:19.107" v="1655" actId="1076"/>
        <pc:sldMkLst>
          <pc:docMk/>
          <pc:sldMk cId="3100398757" sldId="286"/>
        </pc:sldMkLst>
        <pc:picChg chg="add del mod">
          <ac:chgData name="Roberto Gallardo" userId="49a044883f185952" providerId="LiveId" clId="{3DF3007B-9C7A-4F8C-96B1-A9A15E037881}" dt="2023-01-15T17:58:17.784" v="1639" actId="478"/>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picChg chg="add mod">
          <ac:chgData name="Roberto Gallardo" userId="49a044883f185952" providerId="LiveId" clId="{3DF3007B-9C7A-4F8C-96B1-A9A15E037881}" dt="2023-01-15T17:59:19.107" v="1655" actId="1076"/>
          <ac:picMkLst>
            <pc:docMk/>
            <pc:sldMk cId="3100398757" sldId="286"/>
            <ac:picMk id="8" creationId="{FF8FB53C-6731-EAFB-623C-544513545D01}"/>
          </ac:picMkLst>
        </pc:picChg>
      </pc:sldChg>
      <pc:sldChg chg="addSp delSp modSp mod">
        <pc:chgData name="Roberto Gallardo" userId="49a044883f185952" providerId="LiveId" clId="{3DF3007B-9C7A-4F8C-96B1-A9A15E037881}" dt="2023-01-15T18:00:47.687" v="1678" actId="1076"/>
        <pc:sldMkLst>
          <pc:docMk/>
          <pc:sldMk cId="1546475425" sldId="287"/>
        </pc:sldMkLst>
        <pc:picChg chg="add del mod">
          <ac:chgData name="Roberto Gallardo" userId="49a044883f185952" providerId="LiveId" clId="{3DF3007B-9C7A-4F8C-96B1-A9A15E037881}" dt="2023-01-15T17:59:33.555" v="1656" actId="478"/>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picChg chg="add mod">
          <ac:chgData name="Roberto Gallardo" userId="49a044883f185952" providerId="LiveId" clId="{3DF3007B-9C7A-4F8C-96B1-A9A15E037881}" dt="2023-01-15T18:00:47.687" v="1678" actId="1076"/>
          <ac:picMkLst>
            <pc:docMk/>
            <pc:sldMk cId="1546475425" sldId="287"/>
            <ac:picMk id="8" creationId="{E8D36DA1-46A0-22DA-0864-CA5E6CEFD003}"/>
          </ac:picMkLst>
        </pc:picChg>
      </pc:sldChg>
      <pc:sldChg chg="addSp delSp modSp mod">
        <pc:chgData name="Roberto Gallardo" userId="49a044883f185952" providerId="LiveId" clId="{3DF3007B-9C7A-4F8C-96B1-A9A15E037881}" dt="2023-01-15T18:03:27.904" v="1713" actId="1076"/>
        <pc:sldMkLst>
          <pc:docMk/>
          <pc:sldMk cId="1380517306" sldId="288"/>
        </pc:sldMkLst>
        <pc:picChg chg="add del mod">
          <ac:chgData name="Roberto Gallardo" userId="49a044883f185952" providerId="LiveId" clId="{3DF3007B-9C7A-4F8C-96B1-A9A15E037881}" dt="2023-01-15T17:59:38.176" v="1658" actId="478"/>
          <ac:picMkLst>
            <pc:docMk/>
            <pc:sldMk cId="1380517306" sldId="288"/>
            <ac:picMk id="5" creationId="{B56955DC-09E5-145F-D5EA-7A4828711AD9}"/>
          </ac:picMkLst>
        </pc:picChg>
        <pc:picChg chg="add mod">
          <ac:chgData name="Roberto Gallardo" userId="49a044883f185952" providerId="LiveId" clId="{3DF3007B-9C7A-4F8C-96B1-A9A15E037881}" dt="2023-01-15T18:03:27.904" v="1713" actId="1076"/>
          <ac:picMkLst>
            <pc:docMk/>
            <pc:sldMk cId="1380517306" sldId="288"/>
            <ac:picMk id="8" creationId="{559BF8BB-95F2-9A33-FBEF-6778F2E96135}"/>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5T18:04:40.676" v="1730" actId="1076"/>
        <pc:sldMkLst>
          <pc:docMk/>
          <pc:sldMk cId="1388671151" sldId="289"/>
        </pc:sldMkLst>
        <pc:picChg chg="add del mod">
          <ac:chgData name="Roberto Gallardo" userId="49a044883f185952" providerId="LiveId" clId="{3DF3007B-9C7A-4F8C-96B1-A9A15E037881}" dt="2023-01-15T17:59:39.936" v="1659" actId="478"/>
          <ac:picMkLst>
            <pc:docMk/>
            <pc:sldMk cId="1388671151" sldId="289"/>
            <ac:picMk id="5" creationId="{D914859F-2C47-69E5-C8E5-153B565AD678}"/>
          </ac:picMkLst>
        </pc:picChg>
        <pc:picChg chg="add mod">
          <ac:chgData name="Roberto Gallardo" userId="49a044883f185952" providerId="LiveId" clId="{3DF3007B-9C7A-4F8C-96B1-A9A15E037881}" dt="2023-01-15T18:04:40.676" v="1730" actId="1076"/>
          <ac:picMkLst>
            <pc:docMk/>
            <pc:sldMk cId="1388671151" sldId="289"/>
            <ac:picMk id="8" creationId="{AD99A92E-6799-7050-B127-B74EC0B4E77B}"/>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8:08:22.963" v="1764" actId="1076"/>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add mod">
          <ac:chgData name="Roberto Gallardo" userId="49a044883f185952" providerId="LiveId" clId="{3DF3007B-9C7A-4F8C-96B1-A9A15E037881}" dt="2023-01-15T18:08:22.963" v="1764" actId="1076"/>
          <ac:picMkLst>
            <pc:docMk/>
            <pc:sldMk cId="2355376039" sldId="290"/>
            <ac:picMk id="8" creationId="{5F4A4034-085C-189C-4191-CA7E16CDF515}"/>
          </ac:picMkLst>
        </pc:pic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del mod">
          <ac:chgData name="Roberto Gallardo" userId="49a044883f185952" providerId="LiveId" clId="{3DF3007B-9C7A-4F8C-96B1-A9A15E037881}" dt="2023-01-15T17:59:43.310" v="1661" actId="478"/>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8:09:46.518" v="1781" actId="1076"/>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del mod">
          <ac:chgData name="Roberto Gallardo" userId="49a044883f185952" providerId="LiveId" clId="{3DF3007B-9C7A-4F8C-96B1-A9A15E037881}" dt="2023-01-15T17:59:44.959" v="1662" actId="478"/>
          <ac:picMkLst>
            <pc:docMk/>
            <pc:sldMk cId="3757257295" sldId="291"/>
            <ac:picMk id="7" creationId="{A8C2B9C6-FE6E-6FFB-23EF-BFF18FD3ADBC}"/>
          </ac:picMkLst>
        </pc:picChg>
        <pc:picChg chg="add mod">
          <ac:chgData name="Roberto Gallardo" userId="49a044883f185952" providerId="LiveId" clId="{3DF3007B-9C7A-4F8C-96B1-A9A15E037881}" dt="2023-01-15T18:09:46.518" v="1781" actId="1076"/>
          <ac:picMkLst>
            <pc:docMk/>
            <pc:sldMk cId="3757257295" sldId="291"/>
            <ac:picMk id="8" creationId="{07C42A41-36FA-8106-B54C-5AF528054D44}"/>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5T18:02:21.828" v="1696" actId="1076"/>
        <pc:sldMkLst>
          <pc:docMk/>
          <pc:sldMk cId="1259856727" sldId="292"/>
        </pc:sldMkLst>
        <pc:picChg chg="add del mod">
          <ac:chgData name="Roberto Gallardo" userId="49a044883f185952" providerId="LiveId" clId="{3DF3007B-9C7A-4F8C-96B1-A9A15E037881}" dt="2023-01-15T17:59:36.244" v="1657" actId="478"/>
          <ac:picMkLst>
            <pc:docMk/>
            <pc:sldMk cId="1259856727" sldId="292"/>
            <ac:picMk id="5" creationId="{B48EF86A-52C3-AB58-168F-16F2880765DB}"/>
          </ac:picMkLst>
        </pc:picChg>
        <pc:picChg chg="add mod">
          <ac:chgData name="Roberto Gallardo" userId="49a044883f185952" providerId="LiveId" clId="{3DF3007B-9C7A-4F8C-96B1-A9A15E037881}" dt="2023-01-15T18:02:21.828" v="1696" actId="1076"/>
          <ac:picMkLst>
            <pc:docMk/>
            <pc:sldMk cId="1259856727" sldId="292"/>
            <ac:picMk id="8" creationId="{71DE8C41-2B1A-D2CC-5F7C-88BDADC1AA33}"/>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5T17:49:37.683" v="1547" actId="1076"/>
        <pc:sldMkLst>
          <pc:docMk/>
          <pc:sldMk cId="3324519687" sldId="293"/>
        </pc:sldMkLst>
        <pc:picChg chg="add del mod">
          <ac:chgData name="Roberto Gallardo" userId="49a044883f185952" providerId="LiveId" clId="{3DF3007B-9C7A-4F8C-96B1-A9A15E037881}" dt="2023-01-15T17:49:15.520" v="1540" actId="478"/>
          <ac:picMkLst>
            <pc:docMk/>
            <pc:sldMk cId="3324519687" sldId="293"/>
            <ac:picMk id="7" creationId="{A60F00B6-02AC-6AA9-3D46-B7D23CB693CF}"/>
          </ac:picMkLst>
        </pc:picChg>
        <pc:picChg chg="add mod">
          <ac:chgData name="Roberto Gallardo" userId="49a044883f185952" providerId="LiveId" clId="{3DF3007B-9C7A-4F8C-96B1-A9A15E037881}" dt="2023-01-15T17:49:37.683" v="1547" actId="1076"/>
          <ac:picMkLst>
            <pc:docMk/>
            <pc:sldMk cId="3324519687" sldId="293"/>
            <ac:picMk id="8" creationId="{957EE50D-AE79-EDE3-3BB4-E2DC7C8A4C39}"/>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5T17:48:24.533" v="1530" actId="27918"/>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5T17:45:18.890" v="1505" actId="1076"/>
          <ac:picMkLst>
            <pc:docMk/>
            <pc:sldMk cId="3256182630" sldId="295"/>
            <ac:picMk id="6" creationId="{2A659626-F4CD-AFCD-0028-27FFEAEA821A}"/>
          </ac:picMkLst>
        </pc:picChg>
        <pc:picChg chg="add del mod">
          <ac:chgData name="Roberto Gallardo" userId="49a044883f185952" providerId="LiveId" clId="{3DF3007B-9C7A-4F8C-96B1-A9A15E037881}" dt="2023-01-15T17:44:59.707" v="1497" actId="478"/>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5T17:47:18.238" v="1528" actId="1076"/>
        <pc:sldMkLst>
          <pc:docMk/>
          <pc:sldMk cId="4057156843" sldId="296"/>
        </pc:sldMkLst>
        <pc:graphicFrameChg chg="add del mod">
          <ac:chgData name="Roberto Gallardo" userId="49a044883f185952" providerId="LiveId" clId="{3DF3007B-9C7A-4F8C-96B1-A9A15E037881}" dt="2023-01-15T17:46:02.535" v="1508"/>
          <ac:graphicFrameMkLst>
            <pc:docMk/>
            <pc:sldMk cId="4057156843" sldId="296"/>
            <ac:graphicFrameMk id="5" creationId="{10A80171-D705-01FE-0085-8A8684E550E6}"/>
          </ac:graphicFrameMkLst>
        </pc:graphicFrameChg>
        <pc:graphicFrameChg chg="add del mod">
          <ac:chgData name="Roberto Gallardo" userId="49a044883f185952" providerId="LiveId" clId="{3DF3007B-9C7A-4F8C-96B1-A9A15E037881}" dt="2023-01-15T17:46:03.200" v="1509" actId="478"/>
          <ac:graphicFrameMkLst>
            <pc:docMk/>
            <pc:sldMk cId="4057156843" sldId="296"/>
            <ac:graphicFrameMk id="8" creationId="{D3B2E8D2-9CCD-964A-5CD5-9F743C3CE109}"/>
          </ac:graphicFrameMkLst>
        </pc:graphicFrameChg>
        <pc:picChg chg="add del mod">
          <ac:chgData name="Roberto Gallardo" userId="49a044883f185952" providerId="LiveId" clId="{3DF3007B-9C7A-4F8C-96B1-A9A15E037881}" dt="2023-01-15T17:46:56.580" v="1520" actId="478"/>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picChg chg="add mod">
          <ac:chgData name="Roberto Gallardo" userId="49a044883f185952" providerId="LiveId" clId="{3DF3007B-9C7A-4F8C-96B1-A9A15E037881}" dt="2023-01-15T17:47:18.238" v="1528" actId="1076"/>
          <ac:picMkLst>
            <pc:docMk/>
            <pc:sldMk cId="4057156843" sldId="296"/>
            <ac:picMk id="9" creationId="{83FEB5D9-D3E1-1718-9BA0-1E4E42CB2EAF}"/>
          </ac:picMkLst>
        </pc:picChg>
      </pc:sldChg>
      <pc:sldChg chg="addSp delSp modSp mod">
        <pc:chgData name="Roberto Gallardo" userId="49a044883f185952" providerId="LiveId" clId="{3DF3007B-9C7A-4F8C-96B1-A9A15E037881}" dt="2023-01-15T17:42:16.683" v="1485" actId="1076"/>
        <pc:sldMkLst>
          <pc:docMk/>
          <pc:sldMk cId="2080110827" sldId="297"/>
        </pc:sldMkLst>
        <pc:picChg chg="add del mod">
          <ac:chgData name="Roberto Gallardo" userId="49a044883f185952" providerId="LiveId" clId="{3DF3007B-9C7A-4F8C-96B1-A9A15E037881}" dt="2023-01-15T17:41:59.501" v="1478" actId="478"/>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picChg chg="add mod">
          <ac:chgData name="Roberto Gallardo" userId="49a044883f185952" providerId="LiveId" clId="{3DF3007B-9C7A-4F8C-96B1-A9A15E037881}" dt="2023-01-15T17:42:16.683" v="1485" actId="1076"/>
          <ac:picMkLst>
            <pc:docMk/>
            <pc:sldMk cId="2080110827" sldId="297"/>
            <ac:picMk id="7" creationId="{863FFA18-1A6E-FB1C-F203-A44B4B4AC4A9}"/>
          </ac:picMkLst>
        </pc:picChg>
      </pc:sldChg>
      <pc:sldChg chg="addSp delSp modSp mod">
        <pc:chgData name="Roberto Gallardo" userId="49a044883f185952" providerId="LiveId" clId="{3DF3007B-9C7A-4F8C-96B1-A9A15E037881}" dt="2023-01-15T17:41:49.226" v="1477" actId="1076"/>
        <pc:sldMkLst>
          <pc:docMk/>
          <pc:sldMk cId="1532666867" sldId="298"/>
        </pc:sldMkLst>
        <pc:picChg chg="add mod">
          <ac:chgData name="Roberto Gallardo" userId="49a044883f185952" providerId="LiveId" clId="{3DF3007B-9C7A-4F8C-96B1-A9A15E037881}" dt="2023-01-15T17:41:49.226" v="1477" actId="1076"/>
          <ac:picMkLst>
            <pc:docMk/>
            <pc:sldMk cId="1532666867" sldId="298"/>
            <ac:picMk id="6" creationId="{EF0D8426-CFCD-854A-A97D-207F512F8982}"/>
          </ac:picMkLst>
        </pc:picChg>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del mod">
          <ac:chgData name="Roberto Gallardo" userId="49a044883f185952" providerId="LiveId" clId="{3DF3007B-9C7A-4F8C-96B1-A9A15E037881}" dt="2023-01-15T17:41:28.085" v="1470" actId="478"/>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8:06:01.471" v="1747" actId="1076"/>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add mod">
          <ac:chgData name="Roberto Gallardo" userId="49a044883f185952" providerId="LiveId" clId="{3DF3007B-9C7A-4F8C-96B1-A9A15E037881}" dt="2023-01-15T18:06:01.471" v="1747" actId="1076"/>
          <ac:picMkLst>
            <pc:docMk/>
            <pc:sldMk cId="1951376777" sldId="299"/>
            <ac:picMk id="5" creationId="{3AF20E66-AA6C-0EBE-7285-94038E971285}"/>
          </ac:picMkLst>
        </pc:pic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del mod">
          <ac:chgData name="Roberto Gallardo" userId="49a044883f185952" providerId="LiveId" clId="{3DF3007B-9C7A-4F8C-96B1-A9A15E037881}" dt="2023-01-15T17:59:41.911" v="1660" actId="478"/>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B58D14F3-8FFA-49A4-95B8-8353A105954B}"/>
    <pc:docChg chg="custSel addSld delSld modSld">
      <pc:chgData name="Roberto Gallardo" userId="49a044883f185952" providerId="LiveId" clId="{B58D14F3-8FFA-49A4-95B8-8353A105954B}" dt="2023-02-23T00:55:24.500" v="552" actId="27918"/>
      <pc:docMkLst>
        <pc:docMk/>
      </pc:docMkLst>
      <pc:sldChg chg="modSp mod">
        <pc:chgData name="Roberto Gallardo" userId="49a044883f185952" providerId="LiveId" clId="{B58D14F3-8FFA-49A4-95B8-8353A105954B}" dt="2023-01-31T22:33:36.323" v="534" actId="20577"/>
        <pc:sldMkLst>
          <pc:docMk/>
          <pc:sldMk cId="2846901679" sldId="256"/>
        </pc:sldMkLst>
        <pc:spChg chg="mod">
          <ac:chgData name="Roberto Gallardo" userId="49a044883f185952" providerId="LiveId" clId="{B58D14F3-8FFA-49A4-95B8-8353A105954B}" dt="2023-01-31T22:33:36.323" v="534" actId="20577"/>
          <ac:spMkLst>
            <pc:docMk/>
            <pc:sldMk cId="2846901679" sldId="256"/>
            <ac:spMk id="7" creationId="{B1E0ABEC-554C-720A-2772-F0324C8E93CA}"/>
          </ac:spMkLst>
        </pc:spChg>
      </pc:sldChg>
      <pc:sldChg chg="mod">
        <pc:chgData name="Roberto Gallardo" userId="49a044883f185952" providerId="LiveId" clId="{B58D14F3-8FFA-49A4-95B8-8353A105954B}" dt="2023-02-23T00:55:24.500" v="552" actId="27918"/>
        <pc:sldMkLst>
          <pc:docMk/>
          <pc:sldMk cId="3231157596" sldId="257"/>
        </pc:sldMkLst>
      </pc:sldChg>
      <pc:sldChg chg="mod">
        <pc:chgData name="Roberto Gallardo" userId="49a044883f185952" providerId="LiveId" clId="{B58D14F3-8FFA-49A4-95B8-8353A105954B}" dt="2023-02-23T00:54:42.092" v="540" actId="27918"/>
        <pc:sldMkLst>
          <pc:docMk/>
          <pc:sldMk cId="3702837515" sldId="258"/>
        </pc:sldMkLst>
      </pc:sldChg>
      <pc:sldChg chg="mod">
        <pc:chgData name="Roberto Gallardo" userId="49a044883f185952" providerId="LiveId" clId="{B58D14F3-8FFA-49A4-95B8-8353A105954B}" dt="2023-02-23T00:55:04.253" v="546" actId="27918"/>
        <pc:sldMkLst>
          <pc:docMk/>
          <pc:sldMk cId="2519083202" sldId="259"/>
        </pc:sldMkLst>
      </pc:sldChg>
      <pc:sldChg chg="mod">
        <pc:chgData name="Roberto Gallardo" userId="49a044883f185952" providerId="LiveId" clId="{B58D14F3-8FFA-49A4-95B8-8353A105954B}" dt="2023-01-16T14:40:24.794" v="477" actId="27918"/>
        <pc:sldMkLst>
          <pc:docMk/>
          <pc:sldMk cId="3877078759" sldId="260"/>
        </pc:sldMkLst>
      </pc:sldChg>
      <pc:sldChg chg="mod">
        <pc:chgData name="Roberto Gallardo" userId="49a044883f185952" providerId="LiveId" clId="{B58D14F3-8FFA-49A4-95B8-8353A105954B}" dt="2023-01-15T18:58:01.015" v="65" actId="27918"/>
        <pc:sldMkLst>
          <pc:docMk/>
          <pc:sldMk cId="1175010214" sldId="261"/>
        </pc:sldMkLst>
      </pc:sldChg>
      <pc:sldChg chg="addSp delSp modSp mod">
        <pc:chgData name="Roberto Gallardo" userId="49a044883f185952" providerId="LiveId" clId="{B58D14F3-8FFA-49A4-95B8-8353A105954B}" dt="2023-01-15T19:02:33.214" v="92" actId="1076"/>
        <pc:sldMkLst>
          <pc:docMk/>
          <pc:sldMk cId="1418533539" sldId="271"/>
        </pc:sldMkLst>
        <pc:picChg chg="add del mod">
          <ac:chgData name="Roberto Gallardo" userId="49a044883f185952" providerId="LiveId" clId="{B58D14F3-8FFA-49A4-95B8-8353A105954B}" dt="2023-01-15T19:02:05.314" v="84" actId="478"/>
          <ac:picMkLst>
            <pc:docMk/>
            <pc:sldMk cId="1418533539" sldId="271"/>
            <ac:picMk id="6" creationId="{1FAA1AB7-59D9-85D9-F7A0-6A252D88C855}"/>
          </ac:picMkLst>
        </pc:picChg>
        <pc:picChg chg="del">
          <ac:chgData name="Roberto Gallardo" userId="49a044883f185952" providerId="LiveId" clId="{B58D14F3-8FFA-49A4-95B8-8353A105954B}" dt="2023-01-15T18:58:13.493" v="66" actId="478"/>
          <ac:picMkLst>
            <pc:docMk/>
            <pc:sldMk cId="1418533539" sldId="271"/>
            <ac:picMk id="7" creationId="{2F15C3FC-B04E-31FA-10E5-0CC0CA675769}"/>
          </ac:picMkLst>
        </pc:picChg>
        <pc:picChg chg="add mod">
          <ac:chgData name="Roberto Gallardo" userId="49a044883f185952" providerId="LiveId" clId="{B58D14F3-8FFA-49A4-95B8-8353A105954B}" dt="2023-01-15T19:02:33.214" v="92" actId="1076"/>
          <ac:picMkLst>
            <pc:docMk/>
            <pc:sldMk cId="1418533539" sldId="271"/>
            <ac:picMk id="9" creationId="{5E7800F7-9CC1-0036-BBE3-DF2C21CF61EC}"/>
          </ac:picMkLst>
        </pc:picChg>
      </pc:sldChg>
      <pc:sldChg chg="mod">
        <pc:chgData name="Roberto Gallardo" userId="49a044883f185952" providerId="LiveId" clId="{B58D14F3-8FFA-49A4-95B8-8353A105954B}" dt="2023-01-15T18:56:59.333" v="59" actId="27918"/>
        <pc:sldMkLst>
          <pc:docMk/>
          <pc:sldMk cId="2653937722" sldId="272"/>
        </pc:sldMkLst>
      </pc:sldChg>
      <pc:sldChg chg="mod">
        <pc:chgData name="Roberto Gallardo" userId="49a044883f185952" providerId="LiveId" clId="{B58D14F3-8FFA-49A4-95B8-8353A105954B}" dt="2023-01-15T19:45:33.208" v="428" actId="27918"/>
        <pc:sldMkLst>
          <pc:docMk/>
          <pc:sldMk cId="2076698419" sldId="273"/>
        </pc:sldMkLst>
      </pc:sldChg>
      <pc:sldChg chg="mod">
        <pc:chgData name="Roberto Gallardo" userId="49a044883f185952" providerId="LiveId" clId="{B58D14F3-8FFA-49A4-95B8-8353A105954B}" dt="2023-01-15T19:47:54.716" v="466" actId="27918"/>
        <pc:sldMkLst>
          <pc:docMk/>
          <pc:sldMk cId="3802335161" sldId="274"/>
        </pc:sldMkLst>
      </pc:sldChg>
      <pc:sldChg chg="mod">
        <pc:chgData name="Roberto Gallardo" userId="49a044883f185952" providerId="LiveId" clId="{B58D14F3-8FFA-49A4-95B8-8353A105954B}" dt="2023-01-16T15:28:10.180" v="485" actId="27918"/>
        <pc:sldMkLst>
          <pc:docMk/>
          <pc:sldMk cId="4292554322" sldId="275"/>
        </pc:sldMkLst>
      </pc:sldChg>
      <pc:sldChg chg="modSp mod">
        <pc:chgData name="Roberto Gallardo" userId="49a044883f185952" providerId="LiveId" clId="{B58D14F3-8FFA-49A4-95B8-8353A105954B}" dt="2023-01-31T22:32:23.580" v="521" actId="1036"/>
        <pc:sldMkLst>
          <pc:docMk/>
          <pc:sldMk cId="513409896" sldId="276"/>
        </pc:sldMkLst>
        <pc:spChg chg="mod">
          <ac:chgData name="Roberto Gallardo" userId="49a044883f185952" providerId="LiveId" clId="{B58D14F3-8FFA-49A4-95B8-8353A105954B}" dt="2023-01-31T22:32:23.580" v="521" actId="1036"/>
          <ac:spMkLst>
            <pc:docMk/>
            <pc:sldMk cId="513409896" sldId="276"/>
            <ac:spMk id="3" creationId="{AADBAC77-8094-925B-9C83-2132E5A4A84C}"/>
          </ac:spMkLst>
        </pc:spChg>
        <pc:spChg chg="mod">
          <ac:chgData name="Roberto Gallardo" userId="49a044883f185952" providerId="LiveId" clId="{B58D14F3-8FFA-49A4-95B8-8353A105954B}" dt="2023-01-31T22:32:23.580" v="521" actId="1036"/>
          <ac:spMkLst>
            <pc:docMk/>
            <pc:sldMk cId="513409896" sldId="276"/>
            <ac:spMk id="5" creationId="{EA0F984F-F15C-B54F-E4CE-75954416187D}"/>
          </ac:spMkLst>
        </pc:spChg>
        <pc:spChg chg="mod">
          <ac:chgData name="Roberto Gallardo" userId="49a044883f185952" providerId="LiveId" clId="{B58D14F3-8FFA-49A4-95B8-8353A105954B}" dt="2023-01-15T19:46:44.053" v="448" actId="1036"/>
          <ac:spMkLst>
            <pc:docMk/>
            <pc:sldMk cId="513409896" sldId="276"/>
            <ac:spMk id="21" creationId="{9A68ADBE-AECC-EE60-7E94-3675B33E08AE}"/>
          </ac:spMkLst>
        </pc:spChg>
        <pc:cxnChg chg="mod">
          <ac:chgData name="Roberto Gallardo" userId="49a044883f185952" providerId="LiveId" clId="{B58D14F3-8FFA-49A4-95B8-8353A105954B}" dt="2023-01-15T19:46:38.902" v="442" actId="1036"/>
          <ac:cxnSpMkLst>
            <pc:docMk/>
            <pc:sldMk cId="513409896" sldId="276"/>
            <ac:cxnSpMk id="22" creationId="{1B423FA0-E4B3-6570-929B-A9283D503787}"/>
          </ac:cxnSpMkLst>
        </pc:cxnChg>
        <pc:cxnChg chg="mod">
          <ac:chgData name="Roberto Gallardo" userId="49a044883f185952" providerId="LiveId" clId="{B58D14F3-8FFA-49A4-95B8-8353A105954B}" dt="2023-01-15T19:47:04.949" v="462" actId="1036"/>
          <ac:cxnSpMkLst>
            <pc:docMk/>
            <pc:sldMk cId="513409896" sldId="276"/>
            <ac:cxnSpMk id="23" creationId="{D616797E-0044-3804-BA5A-23B8EB309CA5}"/>
          </ac:cxnSpMkLst>
        </pc:cxnChg>
        <pc:cxnChg chg="mod">
          <ac:chgData name="Roberto Gallardo" userId="49a044883f185952" providerId="LiveId" clId="{B58D14F3-8FFA-49A4-95B8-8353A105954B}" dt="2023-01-15T19:47:04.949" v="462" actId="1036"/>
          <ac:cxnSpMkLst>
            <pc:docMk/>
            <pc:sldMk cId="513409896" sldId="276"/>
            <ac:cxnSpMk id="24" creationId="{20A6256E-6780-BAE0-B803-D02FE024579F}"/>
          </ac:cxnSpMkLst>
        </pc:cxnChg>
        <pc:cxnChg chg="mod">
          <ac:chgData name="Roberto Gallardo" userId="49a044883f185952" providerId="LiveId" clId="{B58D14F3-8FFA-49A4-95B8-8353A105954B}" dt="2023-01-15T19:46:38.902" v="442" actId="1036"/>
          <ac:cxnSpMkLst>
            <pc:docMk/>
            <pc:sldMk cId="513409896" sldId="276"/>
            <ac:cxnSpMk id="25" creationId="{62B7492E-2C75-E0CD-947E-C582F412F7D7}"/>
          </ac:cxnSpMkLst>
        </pc:cxnChg>
      </pc:sldChg>
      <pc:sldChg chg="mod">
        <pc:chgData name="Roberto Gallardo" userId="49a044883f185952" providerId="LiveId" clId="{B58D14F3-8FFA-49A4-95B8-8353A105954B}" dt="2023-01-15T19:44:53.268" v="423" actId="27918"/>
        <pc:sldMkLst>
          <pc:docMk/>
          <pc:sldMk cId="349244952" sldId="278"/>
        </pc:sldMkLst>
      </pc:sldChg>
      <pc:sldChg chg="addSp delSp modSp mod">
        <pc:chgData name="Roberto Gallardo" userId="49a044883f185952" providerId="LiveId" clId="{B58D14F3-8FFA-49A4-95B8-8353A105954B}" dt="2023-01-15T19:26:24.283" v="211" actId="1076"/>
        <pc:sldMkLst>
          <pc:docMk/>
          <pc:sldMk cId="2124848710" sldId="281"/>
        </pc:sldMkLst>
        <pc:picChg chg="del">
          <ac:chgData name="Roberto Gallardo" userId="49a044883f185952" providerId="LiveId" clId="{B58D14F3-8FFA-49A4-95B8-8353A105954B}" dt="2023-01-15T19:02:52.178" v="98" actId="478"/>
          <ac:picMkLst>
            <pc:docMk/>
            <pc:sldMk cId="2124848710" sldId="281"/>
            <ac:picMk id="5" creationId="{556F29F2-6997-7A0D-E7B2-05855ADA3C54}"/>
          </ac:picMkLst>
        </pc:picChg>
        <pc:picChg chg="add mod">
          <ac:chgData name="Roberto Gallardo" userId="49a044883f185952" providerId="LiveId" clId="{B58D14F3-8FFA-49A4-95B8-8353A105954B}" dt="2023-01-15T19:26:24.283" v="211" actId="1076"/>
          <ac:picMkLst>
            <pc:docMk/>
            <pc:sldMk cId="2124848710" sldId="281"/>
            <ac:picMk id="8" creationId="{59CC8532-F288-791A-EFE6-B1A2416FC756}"/>
          </ac:picMkLst>
        </pc:picChg>
      </pc:sldChg>
      <pc:sldChg chg="addSp delSp modSp mod">
        <pc:chgData name="Roberto Gallardo" userId="49a044883f185952" providerId="LiveId" clId="{B58D14F3-8FFA-49A4-95B8-8353A105954B}" dt="2023-01-15T19:28:38.988" v="229" actId="1076"/>
        <pc:sldMkLst>
          <pc:docMk/>
          <pc:sldMk cId="2028175529" sldId="282"/>
        </pc:sldMkLst>
        <pc:picChg chg="add mod">
          <ac:chgData name="Roberto Gallardo" userId="49a044883f185952" providerId="LiveId" clId="{B58D14F3-8FFA-49A4-95B8-8353A105954B}" dt="2023-01-15T19:28:38.988" v="229" actId="1076"/>
          <ac:picMkLst>
            <pc:docMk/>
            <pc:sldMk cId="2028175529" sldId="282"/>
            <ac:picMk id="5" creationId="{C32BC25F-56EF-64BD-519C-17FB66BF21A9}"/>
          </ac:picMkLst>
        </pc:picChg>
        <pc:picChg chg="del">
          <ac:chgData name="Roberto Gallardo" userId="49a044883f185952" providerId="LiveId" clId="{B58D14F3-8FFA-49A4-95B8-8353A105954B}" dt="2023-01-15T19:02:54.259" v="99" actId="478"/>
          <ac:picMkLst>
            <pc:docMk/>
            <pc:sldMk cId="2028175529" sldId="282"/>
            <ac:picMk id="8" creationId="{41D36A96-EA9A-CCB2-E305-0B946C042E36}"/>
          </ac:picMkLst>
        </pc:picChg>
      </pc:sldChg>
      <pc:sldChg chg="addSp delSp modSp mod">
        <pc:chgData name="Roberto Gallardo" userId="49a044883f185952" providerId="LiveId" clId="{B58D14F3-8FFA-49A4-95B8-8353A105954B}" dt="2023-01-15T19:29:58.008" v="246" actId="1076"/>
        <pc:sldMkLst>
          <pc:docMk/>
          <pc:sldMk cId="1326517747" sldId="283"/>
        </pc:sldMkLst>
        <pc:picChg chg="add mod">
          <ac:chgData name="Roberto Gallardo" userId="49a044883f185952" providerId="LiveId" clId="{B58D14F3-8FFA-49A4-95B8-8353A105954B}" dt="2023-01-15T19:29:58.008" v="246" actId="1076"/>
          <ac:picMkLst>
            <pc:docMk/>
            <pc:sldMk cId="1326517747" sldId="283"/>
            <ac:picMk id="5" creationId="{F66195C6-879A-5A62-C42A-A2106922316E}"/>
          </ac:picMkLst>
        </pc:picChg>
        <pc:picChg chg="del">
          <ac:chgData name="Roberto Gallardo" userId="49a044883f185952" providerId="LiveId" clId="{B58D14F3-8FFA-49A4-95B8-8353A105954B}" dt="2023-01-15T19:02:55.860" v="100" actId="478"/>
          <ac:picMkLst>
            <pc:docMk/>
            <pc:sldMk cId="1326517747" sldId="283"/>
            <ac:picMk id="8" creationId="{8EC4580D-8F08-40A8-A137-3545A4069AA9}"/>
          </ac:picMkLst>
        </pc:picChg>
      </pc:sldChg>
      <pc:sldChg chg="addSp delSp modSp mod">
        <pc:chgData name="Roberto Gallardo" userId="49a044883f185952" providerId="LiveId" clId="{B58D14F3-8FFA-49A4-95B8-8353A105954B}" dt="2023-01-15T19:31:25.626" v="263" actId="1076"/>
        <pc:sldMkLst>
          <pc:docMk/>
          <pc:sldMk cId="783739251" sldId="284"/>
        </pc:sldMkLst>
        <pc:picChg chg="add mod">
          <ac:chgData name="Roberto Gallardo" userId="49a044883f185952" providerId="LiveId" clId="{B58D14F3-8FFA-49A4-95B8-8353A105954B}" dt="2023-01-15T19:31:25.626" v="263" actId="1076"/>
          <ac:picMkLst>
            <pc:docMk/>
            <pc:sldMk cId="783739251" sldId="284"/>
            <ac:picMk id="5" creationId="{D266E385-4DFE-4CA1-3BA2-8FC8AB6D06B8}"/>
          </ac:picMkLst>
        </pc:picChg>
        <pc:picChg chg="del">
          <ac:chgData name="Roberto Gallardo" userId="49a044883f185952" providerId="LiveId" clId="{B58D14F3-8FFA-49A4-95B8-8353A105954B}" dt="2023-01-15T19:02:57.544" v="101" actId="478"/>
          <ac:picMkLst>
            <pc:docMk/>
            <pc:sldMk cId="783739251" sldId="284"/>
            <ac:picMk id="8" creationId="{AFF3357F-A78F-9022-EB5F-1692DE80E88B}"/>
          </ac:picMkLst>
        </pc:picChg>
      </pc:sldChg>
      <pc:sldChg chg="addSp delSp modSp mod">
        <pc:chgData name="Roberto Gallardo" userId="49a044883f185952" providerId="LiveId" clId="{B58D14F3-8FFA-49A4-95B8-8353A105954B}" dt="2023-01-15T19:32:55.389" v="281" actId="1076"/>
        <pc:sldMkLst>
          <pc:docMk/>
          <pc:sldMk cId="1676122233" sldId="285"/>
        </pc:sldMkLst>
        <pc:picChg chg="add mod">
          <ac:chgData name="Roberto Gallardo" userId="49a044883f185952" providerId="LiveId" clId="{B58D14F3-8FFA-49A4-95B8-8353A105954B}" dt="2023-01-15T19:32:55.389" v="281" actId="1076"/>
          <ac:picMkLst>
            <pc:docMk/>
            <pc:sldMk cId="1676122233" sldId="285"/>
            <ac:picMk id="5" creationId="{617C5CCF-BB89-47AC-8CDC-827301D32F80}"/>
          </ac:picMkLst>
        </pc:picChg>
        <pc:picChg chg="del">
          <ac:chgData name="Roberto Gallardo" userId="49a044883f185952" providerId="LiveId" clId="{B58D14F3-8FFA-49A4-95B8-8353A105954B}" dt="2023-01-15T19:03:00.242" v="102" actId="478"/>
          <ac:picMkLst>
            <pc:docMk/>
            <pc:sldMk cId="1676122233" sldId="285"/>
            <ac:picMk id="8" creationId="{BB4A4BAA-6F00-6508-3C3D-2A227BD886F7}"/>
          </ac:picMkLst>
        </pc:picChg>
      </pc:sldChg>
      <pc:sldChg chg="addSp delSp modSp mod">
        <pc:chgData name="Roberto Gallardo" userId="49a044883f185952" providerId="LiveId" clId="{B58D14F3-8FFA-49A4-95B8-8353A105954B}" dt="2023-01-15T19:34:12.404" v="298" actId="1076"/>
        <pc:sldMkLst>
          <pc:docMk/>
          <pc:sldMk cId="3100398757" sldId="286"/>
        </pc:sldMkLst>
        <pc:picChg chg="add mod">
          <ac:chgData name="Roberto Gallardo" userId="49a044883f185952" providerId="LiveId" clId="{B58D14F3-8FFA-49A4-95B8-8353A105954B}" dt="2023-01-15T19:34:12.404" v="298" actId="1076"/>
          <ac:picMkLst>
            <pc:docMk/>
            <pc:sldMk cId="3100398757" sldId="286"/>
            <ac:picMk id="5" creationId="{828FE092-91FC-0861-5279-E886D1A66A69}"/>
          </ac:picMkLst>
        </pc:picChg>
        <pc:picChg chg="del">
          <ac:chgData name="Roberto Gallardo" userId="49a044883f185952" providerId="LiveId" clId="{B58D14F3-8FFA-49A4-95B8-8353A105954B}" dt="2023-01-15T19:03:03.058" v="103" actId="478"/>
          <ac:picMkLst>
            <pc:docMk/>
            <pc:sldMk cId="3100398757" sldId="286"/>
            <ac:picMk id="8" creationId="{FF8FB53C-6731-EAFB-623C-544513545D01}"/>
          </ac:picMkLst>
        </pc:picChg>
      </pc:sldChg>
      <pc:sldChg chg="addSp delSp modSp mod">
        <pc:chgData name="Roberto Gallardo" userId="49a044883f185952" providerId="LiveId" clId="{B58D14F3-8FFA-49A4-95B8-8353A105954B}" dt="2023-01-15T19:35:37.100" v="316" actId="1076"/>
        <pc:sldMkLst>
          <pc:docMk/>
          <pc:sldMk cId="1546475425" sldId="287"/>
        </pc:sldMkLst>
        <pc:picChg chg="add mod">
          <ac:chgData name="Roberto Gallardo" userId="49a044883f185952" providerId="LiveId" clId="{B58D14F3-8FFA-49A4-95B8-8353A105954B}" dt="2023-01-15T19:35:37.100" v="316" actId="1076"/>
          <ac:picMkLst>
            <pc:docMk/>
            <pc:sldMk cId="1546475425" sldId="287"/>
            <ac:picMk id="5" creationId="{B467A300-443B-2A89-6450-C65A5FD24F27}"/>
          </ac:picMkLst>
        </pc:picChg>
        <pc:picChg chg="del">
          <ac:chgData name="Roberto Gallardo" userId="49a044883f185952" providerId="LiveId" clId="{B58D14F3-8FFA-49A4-95B8-8353A105954B}" dt="2023-01-15T19:03:04.642" v="104" actId="478"/>
          <ac:picMkLst>
            <pc:docMk/>
            <pc:sldMk cId="1546475425" sldId="287"/>
            <ac:picMk id="8" creationId="{E8D36DA1-46A0-22DA-0864-CA5E6CEFD003}"/>
          </ac:picMkLst>
        </pc:picChg>
      </pc:sldChg>
      <pc:sldChg chg="addSp delSp modSp mod">
        <pc:chgData name="Roberto Gallardo" userId="49a044883f185952" providerId="LiveId" clId="{B58D14F3-8FFA-49A4-95B8-8353A105954B}" dt="2023-01-15T19:38:35.070" v="350" actId="1076"/>
        <pc:sldMkLst>
          <pc:docMk/>
          <pc:sldMk cId="1380517306" sldId="288"/>
        </pc:sldMkLst>
        <pc:picChg chg="add mod">
          <ac:chgData name="Roberto Gallardo" userId="49a044883f185952" providerId="LiveId" clId="{B58D14F3-8FFA-49A4-95B8-8353A105954B}" dt="2023-01-15T19:38:35.070" v="350" actId="1076"/>
          <ac:picMkLst>
            <pc:docMk/>
            <pc:sldMk cId="1380517306" sldId="288"/>
            <ac:picMk id="5" creationId="{EC37CC93-4D82-B5A6-40D1-21ADAC23DE0F}"/>
          </ac:picMkLst>
        </pc:picChg>
        <pc:picChg chg="del">
          <ac:chgData name="Roberto Gallardo" userId="49a044883f185952" providerId="LiveId" clId="{B58D14F3-8FFA-49A4-95B8-8353A105954B}" dt="2023-01-15T19:03:08.288" v="106" actId="478"/>
          <ac:picMkLst>
            <pc:docMk/>
            <pc:sldMk cId="1380517306" sldId="288"/>
            <ac:picMk id="8" creationId="{559BF8BB-95F2-9A33-FBEF-6778F2E96135}"/>
          </ac:picMkLst>
        </pc:picChg>
      </pc:sldChg>
      <pc:sldChg chg="addSp delSp modSp mod">
        <pc:chgData name="Roberto Gallardo" userId="49a044883f185952" providerId="LiveId" clId="{B58D14F3-8FFA-49A4-95B8-8353A105954B}" dt="2023-01-15T19:40:04.392" v="367" actId="1076"/>
        <pc:sldMkLst>
          <pc:docMk/>
          <pc:sldMk cId="1388671151" sldId="289"/>
        </pc:sldMkLst>
        <pc:picChg chg="add mod">
          <ac:chgData name="Roberto Gallardo" userId="49a044883f185952" providerId="LiveId" clId="{B58D14F3-8FFA-49A4-95B8-8353A105954B}" dt="2023-01-15T19:40:04.392" v="367" actId="1076"/>
          <ac:picMkLst>
            <pc:docMk/>
            <pc:sldMk cId="1388671151" sldId="289"/>
            <ac:picMk id="5" creationId="{277FFAB3-CF3A-2E34-ED77-74E8C912755E}"/>
          </ac:picMkLst>
        </pc:picChg>
        <pc:picChg chg="del">
          <ac:chgData name="Roberto Gallardo" userId="49a044883f185952" providerId="LiveId" clId="{B58D14F3-8FFA-49A4-95B8-8353A105954B}" dt="2023-01-15T19:03:10.274" v="107" actId="478"/>
          <ac:picMkLst>
            <pc:docMk/>
            <pc:sldMk cId="1388671151" sldId="289"/>
            <ac:picMk id="8" creationId="{AD99A92E-6799-7050-B127-B74EC0B4E77B}"/>
          </ac:picMkLst>
        </pc:picChg>
      </pc:sldChg>
      <pc:sldChg chg="addSp delSp modSp mod">
        <pc:chgData name="Roberto Gallardo" userId="49a044883f185952" providerId="LiveId" clId="{B58D14F3-8FFA-49A4-95B8-8353A105954B}" dt="2023-01-15T19:42:58.522" v="403" actId="1076"/>
        <pc:sldMkLst>
          <pc:docMk/>
          <pc:sldMk cId="2355376039" sldId="290"/>
        </pc:sldMkLst>
        <pc:picChg chg="del">
          <ac:chgData name="Roberto Gallardo" userId="49a044883f185952" providerId="LiveId" clId="{B58D14F3-8FFA-49A4-95B8-8353A105954B}" dt="2023-01-15T19:03:14.159" v="109" actId="478"/>
          <ac:picMkLst>
            <pc:docMk/>
            <pc:sldMk cId="2355376039" sldId="290"/>
            <ac:picMk id="8" creationId="{5F4A4034-085C-189C-4191-CA7E16CDF515}"/>
          </ac:picMkLst>
        </pc:picChg>
        <pc:picChg chg="add mod">
          <ac:chgData name="Roberto Gallardo" userId="49a044883f185952" providerId="LiveId" clId="{B58D14F3-8FFA-49A4-95B8-8353A105954B}" dt="2023-01-15T19:42:58.522" v="403" actId="1076"/>
          <ac:picMkLst>
            <pc:docMk/>
            <pc:sldMk cId="2355376039" sldId="290"/>
            <ac:picMk id="9" creationId="{5D042F5E-769F-0295-794B-C2C5B4C383CA}"/>
          </ac:picMkLst>
        </pc:picChg>
      </pc:sldChg>
      <pc:sldChg chg="addSp delSp modSp mod">
        <pc:chgData name="Roberto Gallardo" userId="49a044883f185952" providerId="LiveId" clId="{B58D14F3-8FFA-49A4-95B8-8353A105954B}" dt="2023-01-31T22:32:09.965" v="518" actId="27918"/>
        <pc:sldMkLst>
          <pc:docMk/>
          <pc:sldMk cId="3757257295" sldId="291"/>
        </pc:sldMkLst>
        <pc:picChg chg="add mod">
          <ac:chgData name="Roberto Gallardo" userId="49a044883f185952" providerId="LiveId" clId="{B58D14F3-8FFA-49A4-95B8-8353A105954B}" dt="2023-01-15T19:44:27.876" v="419" actId="1076"/>
          <ac:picMkLst>
            <pc:docMk/>
            <pc:sldMk cId="3757257295" sldId="291"/>
            <ac:picMk id="7" creationId="{D0056C1A-1D3E-01C7-5208-26577D1147CF}"/>
          </ac:picMkLst>
        </pc:picChg>
        <pc:picChg chg="del">
          <ac:chgData name="Roberto Gallardo" userId="49a044883f185952" providerId="LiveId" clId="{B58D14F3-8FFA-49A4-95B8-8353A105954B}" dt="2023-01-15T19:03:15.714" v="110" actId="478"/>
          <ac:picMkLst>
            <pc:docMk/>
            <pc:sldMk cId="3757257295" sldId="291"/>
            <ac:picMk id="8" creationId="{07C42A41-36FA-8106-B54C-5AF528054D44}"/>
          </ac:picMkLst>
        </pc:picChg>
      </pc:sldChg>
      <pc:sldChg chg="addSp delSp modSp mod">
        <pc:chgData name="Roberto Gallardo" userId="49a044883f185952" providerId="LiveId" clId="{B58D14F3-8FFA-49A4-95B8-8353A105954B}" dt="2023-01-15T19:37:09.180" v="334" actId="1037"/>
        <pc:sldMkLst>
          <pc:docMk/>
          <pc:sldMk cId="1259856727" sldId="292"/>
        </pc:sldMkLst>
        <pc:picChg chg="add mod">
          <ac:chgData name="Roberto Gallardo" userId="49a044883f185952" providerId="LiveId" clId="{B58D14F3-8FFA-49A4-95B8-8353A105954B}" dt="2023-01-15T19:37:09.180" v="334" actId="1037"/>
          <ac:picMkLst>
            <pc:docMk/>
            <pc:sldMk cId="1259856727" sldId="292"/>
            <ac:picMk id="5" creationId="{80C86FF7-A14F-877B-297D-2CCC5D131F67}"/>
          </ac:picMkLst>
        </pc:picChg>
        <pc:picChg chg="del">
          <ac:chgData name="Roberto Gallardo" userId="49a044883f185952" providerId="LiveId" clId="{B58D14F3-8FFA-49A4-95B8-8353A105954B}" dt="2023-01-15T19:03:06.690" v="105" actId="478"/>
          <ac:picMkLst>
            <pc:docMk/>
            <pc:sldMk cId="1259856727" sldId="292"/>
            <ac:picMk id="8" creationId="{71DE8C41-2B1A-D2CC-5F7C-88BDADC1AA33}"/>
          </ac:picMkLst>
        </pc:picChg>
      </pc:sldChg>
      <pc:sldChg chg="addSp delSp modSp mod">
        <pc:chgData name="Roberto Gallardo" userId="49a044883f185952" providerId="LiveId" clId="{B58D14F3-8FFA-49A4-95B8-8353A105954B}" dt="2023-01-18T00:28:11.802" v="515"/>
        <pc:sldMkLst>
          <pc:docMk/>
          <pc:sldMk cId="3324519687" sldId="293"/>
        </pc:sldMkLst>
        <pc:spChg chg="del">
          <ac:chgData name="Roberto Gallardo" userId="49a044883f185952" providerId="LiveId" clId="{B58D14F3-8FFA-49A4-95B8-8353A105954B}" dt="2023-01-18T00:28:11.436" v="514" actId="478"/>
          <ac:spMkLst>
            <pc:docMk/>
            <pc:sldMk cId="3324519687" sldId="293"/>
            <ac:spMk id="3" creationId="{AF651823-818E-912D-E331-CDEB914505A8}"/>
          </ac:spMkLst>
        </pc:spChg>
        <pc:spChg chg="add mod">
          <ac:chgData name="Roberto Gallardo" userId="49a044883f185952" providerId="LiveId" clId="{B58D14F3-8FFA-49A4-95B8-8353A105954B}" dt="2023-01-18T00:28:11.802" v="515"/>
          <ac:spMkLst>
            <pc:docMk/>
            <pc:sldMk cId="3324519687" sldId="293"/>
            <ac:spMk id="5" creationId="{E7EF701F-592D-1647-ECD9-AA90DD53FF91}"/>
          </ac:spMkLst>
        </pc:spChg>
        <pc:picChg chg="add mod">
          <ac:chgData name="Roberto Gallardo" userId="49a044883f185952" providerId="LiveId" clId="{B58D14F3-8FFA-49A4-95B8-8353A105954B}" dt="2023-01-15T19:24:45.344" v="193" actId="1076"/>
          <ac:picMkLst>
            <pc:docMk/>
            <pc:sldMk cId="3324519687" sldId="293"/>
            <ac:picMk id="7" creationId="{D5FBAD5B-FABB-AF66-1C85-C036EEAF2535}"/>
          </ac:picMkLst>
        </pc:picChg>
        <pc:picChg chg="del">
          <ac:chgData name="Roberto Gallardo" userId="49a044883f185952" providerId="LiveId" clId="{B58D14F3-8FFA-49A4-95B8-8353A105954B}" dt="2023-01-15T19:02:50.538" v="97" actId="478"/>
          <ac:picMkLst>
            <pc:docMk/>
            <pc:sldMk cId="3324519687" sldId="293"/>
            <ac:picMk id="8" creationId="{957EE50D-AE79-EDE3-3BB4-E2DC7C8A4C39}"/>
          </ac:picMkLst>
        </pc:picChg>
      </pc:sldChg>
      <pc:sldChg chg="addSp delSp modSp mod">
        <pc:chgData name="Roberto Gallardo" userId="49a044883f185952" providerId="LiveId" clId="{B58D14F3-8FFA-49A4-95B8-8353A105954B}" dt="2023-01-15T19:19:02.123" v="159" actId="1076"/>
        <pc:sldMkLst>
          <pc:docMk/>
          <pc:sldMk cId="3256182630" sldId="295"/>
        </pc:sldMkLst>
        <pc:picChg chg="del">
          <ac:chgData name="Roberto Gallardo" userId="49a044883f185952" providerId="LiveId" clId="{B58D14F3-8FFA-49A4-95B8-8353A105954B}" dt="2023-01-15T19:02:46.314" v="95" actId="478"/>
          <ac:picMkLst>
            <pc:docMk/>
            <pc:sldMk cId="3256182630" sldId="295"/>
            <ac:picMk id="6" creationId="{2A659626-F4CD-AFCD-0028-27FFEAEA821A}"/>
          </ac:picMkLst>
        </pc:picChg>
        <pc:picChg chg="add del mod">
          <ac:chgData name="Roberto Gallardo" userId="49a044883f185952" providerId="LiveId" clId="{B58D14F3-8FFA-49A4-95B8-8353A105954B}" dt="2023-01-15T19:18:31.660" v="149" actId="478"/>
          <ac:picMkLst>
            <pc:docMk/>
            <pc:sldMk cId="3256182630" sldId="295"/>
            <ac:picMk id="7" creationId="{6CAEEEB8-0F6D-ACF7-2BCC-3020293224F5}"/>
          </ac:picMkLst>
        </pc:picChg>
        <pc:picChg chg="add mod">
          <ac:chgData name="Roberto Gallardo" userId="49a044883f185952" providerId="LiveId" clId="{B58D14F3-8FFA-49A4-95B8-8353A105954B}" dt="2023-01-15T19:19:02.123" v="159" actId="1076"/>
          <ac:picMkLst>
            <pc:docMk/>
            <pc:sldMk cId="3256182630" sldId="295"/>
            <ac:picMk id="10" creationId="{D1E71CBC-E82F-97AF-BC53-5CEA892CA5F4}"/>
          </ac:picMkLst>
        </pc:picChg>
      </pc:sldChg>
      <pc:sldChg chg="addSp delSp modSp mod">
        <pc:chgData name="Roberto Gallardo" userId="49a044883f185952" providerId="LiveId" clId="{B58D14F3-8FFA-49A4-95B8-8353A105954B}" dt="2023-01-15T19:22:56.037" v="176" actId="1076"/>
        <pc:sldMkLst>
          <pc:docMk/>
          <pc:sldMk cId="4057156843" sldId="296"/>
        </pc:sldMkLst>
        <pc:picChg chg="add mod">
          <ac:chgData name="Roberto Gallardo" userId="49a044883f185952" providerId="LiveId" clId="{B58D14F3-8FFA-49A4-95B8-8353A105954B}" dt="2023-01-15T19:22:56.037" v="176" actId="1076"/>
          <ac:picMkLst>
            <pc:docMk/>
            <pc:sldMk cId="4057156843" sldId="296"/>
            <ac:picMk id="6" creationId="{23497DC1-23CC-E188-1CAB-0C7646F217F1}"/>
          </ac:picMkLst>
        </pc:picChg>
        <pc:picChg chg="del">
          <ac:chgData name="Roberto Gallardo" userId="49a044883f185952" providerId="LiveId" clId="{B58D14F3-8FFA-49A4-95B8-8353A105954B}" dt="2023-01-15T19:02:48.892" v="96" actId="478"/>
          <ac:picMkLst>
            <pc:docMk/>
            <pc:sldMk cId="4057156843" sldId="296"/>
            <ac:picMk id="9" creationId="{83FEB5D9-D3E1-1718-9BA0-1E4E42CB2EAF}"/>
          </ac:picMkLst>
        </pc:picChg>
      </pc:sldChg>
      <pc:sldChg chg="addSp delSp modSp mod">
        <pc:chgData name="Roberto Gallardo" userId="49a044883f185952" providerId="LiveId" clId="{B58D14F3-8FFA-49A4-95B8-8353A105954B}" dt="2023-01-15T19:12:50.995" v="128" actId="1076"/>
        <pc:sldMkLst>
          <pc:docMk/>
          <pc:sldMk cId="2080110827" sldId="297"/>
        </pc:sldMkLst>
        <pc:picChg chg="add mod">
          <ac:chgData name="Roberto Gallardo" userId="49a044883f185952" providerId="LiveId" clId="{B58D14F3-8FFA-49A4-95B8-8353A105954B}" dt="2023-01-15T19:12:50.995" v="128" actId="1076"/>
          <ac:picMkLst>
            <pc:docMk/>
            <pc:sldMk cId="2080110827" sldId="297"/>
            <ac:picMk id="6" creationId="{C71CB705-CD41-D3E6-5F84-C7059E45847A}"/>
          </ac:picMkLst>
        </pc:picChg>
        <pc:picChg chg="del">
          <ac:chgData name="Roberto Gallardo" userId="49a044883f185952" providerId="LiveId" clId="{B58D14F3-8FFA-49A4-95B8-8353A105954B}" dt="2023-01-15T19:02:44.794" v="94" actId="478"/>
          <ac:picMkLst>
            <pc:docMk/>
            <pc:sldMk cId="2080110827" sldId="297"/>
            <ac:picMk id="7" creationId="{863FFA18-1A6E-FB1C-F203-A44B4B4AC4A9}"/>
          </ac:picMkLst>
        </pc:picChg>
      </pc:sldChg>
      <pc:sldChg chg="addSp delSp modSp mod">
        <pc:chgData name="Roberto Gallardo" userId="49a044883f185952" providerId="LiveId" clId="{B58D14F3-8FFA-49A4-95B8-8353A105954B}" dt="2023-01-15T19:12:22.241" v="119" actId="1076"/>
        <pc:sldMkLst>
          <pc:docMk/>
          <pc:sldMk cId="1532666867" sldId="298"/>
        </pc:sldMkLst>
        <pc:picChg chg="del">
          <ac:chgData name="Roberto Gallardo" userId="49a044883f185952" providerId="LiveId" clId="{B58D14F3-8FFA-49A4-95B8-8353A105954B}" dt="2023-01-15T18:59:01.209" v="76" actId="478"/>
          <ac:picMkLst>
            <pc:docMk/>
            <pc:sldMk cId="1532666867" sldId="298"/>
            <ac:picMk id="6" creationId="{EF0D8426-CFCD-854A-A97D-207F512F8982}"/>
          </ac:picMkLst>
        </pc:picChg>
        <pc:picChg chg="add del mod">
          <ac:chgData name="Roberto Gallardo" userId="49a044883f185952" providerId="LiveId" clId="{B58D14F3-8FFA-49A4-95B8-8353A105954B}" dt="2023-01-15T19:02:43.171" v="93" actId="478"/>
          <ac:picMkLst>
            <pc:docMk/>
            <pc:sldMk cId="1532666867" sldId="298"/>
            <ac:picMk id="7" creationId="{79D1867A-027B-2004-CF61-B463957F3FAA}"/>
          </ac:picMkLst>
        </pc:picChg>
        <pc:picChg chg="add mod">
          <ac:chgData name="Roberto Gallardo" userId="49a044883f185952" providerId="LiveId" clId="{B58D14F3-8FFA-49A4-95B8-8353A105954B}" dt="2023-01-15T19:12:22.241" v="119" actId="1076"/>
          <ac:picMkLst>
            <pc:docMk/>
            <pc:sldMk cId="1532666867" sldId="298"/>
            <ac:picMk id="9" creationId="{6E966F0B-953B-8A85-694F-93EFD60E3B57}"/>
          </ac:picMkLst>
        </pc:picChg>
      </pc:sldChg>
      <pc:sldChg chg="addSp delSp modSp mod">
        <pc:chgData name="Roberto Gallardo" userId="49a044883f185952" providerId="LiveId" clId="{B58D14F3-8FFA-49A4-95B8-8353A105954B}" dt="2023-01-15T19:41:33.388" v="386" actId="1076"/>
        <pc:sldMkLst>
          <pc:docMk/>
          <pc:sldMk cId="1951376777" sldId="299"/>
        </pc:sldMkLst>
        <pc:picChg chg="del">
          <ac:chgData name="Roberto Gallardo" userId="49a044883f185952" providerId="LiveId" clId="{B58D14F3-8FFA-49A4-95B8-8353A105954B}" dt="2023-01-15T19:03:11.874" v="108" actId="478"/>
          <ac:picMkLst>
            <pc:docMk/>
            <pc:sldMk cId="1951376777" sldId="299"/>
            <ac:picMk id="5" creationId="{3AF20E66-AA6C-0EBE-7285-94038E971285}"/>
          </ac:picMkLst>
        </pc:picChg>
        <pc:picChg chg="add mod">
          <ac:chgData name="Roberto Gallardo" userId="49a044883f185952" providerId="LiveId" clId="{B58D14F3-8FFA-49A4-95B8-8353A105954B}" dt="2023-01-15T19:41:33.388" v="386" actId="1076"/>
          <ac:picMkLst>
            <pc:docMk/>
            <pc:sldMk cId="1951376777" sldId="299"/>
            <ac:picMk id="8" creationId="{2244EBF2-674F-0118-C752-EBDDBDF4065E}"/>
          </ac:picMkLst>
        </pc:picChg>
      </pc:sldChg>
      <pc:sldChg chg="del">
        <pc:chgData name="Roberto Gallardo" userId="49a044883f185952" providerId="LiveId" clId="{B58D14F3-8FFA-49A4-95B8-8353A105954B}" dt="2023-01-17T23:21:40.059" v="487" actId="47"/>
        <pc:sldMkLst>
          <pc:docMk/>
          <pc:sldMk cId="230398305" sldId="301"/>
        </pc:sldMkLst>
      </pc:sldChg>
      <pc:sldChg chg="add">
        <pc:chgData name="Roberto Gallardo" userId="49a044883f185952" providerId="LiveId" clId="{B58D14F3-8FFA-49A4-95B8-8353A105954B}" dt="2023-01-17T23:21:38.144" v="486"/>
        <pc:sldMkLst>
          <pc:docMk/>
          <pc:sldMk cId="1515423683" sldId="302"/>
        </pc:sldMkLst>
      </pc:sldChg>
      <pc:sldChg chg="add mod">
        <pc:chgData name="Roberto Gallardo" userId="49a044883f185952" providerId="LiveId" clId="{B58D14F3-8FFA-49A4-95B8-8353A105954B}" dt="2023-01-17T23:24:08.833" v="513" actId="27918"/>
        <pc:sldMkLst>
          <pc:docMk/>
          <pc:sldMk cId="2841628872" sldId="303"/>
        </pc:sldMkLst>
      </pc:sldChg>
      <pc:sldChg chg="add mod">
        <pc:chgData name="Roberto Gallardo" userId="49a044883f185952" providerId="LiveId" clId="{B58D14F3-8FFA-49A4-95B8-8353A105954B}" dt="2023-01-17T23:23:41.699" v="506" actId="27918"/>
        <pc:sldMkLst>
          <pc:docMk/>
          <pc:sldMk cId="3084076302" sldId="304"/>
        </pc:sldMkLst>
      </pc:sldChg>
      <pc:sldChg chg="add mod">
        <pc:chgData name="Roberto Gallardo" userId="49a044883f185952" providerId="LiveId" clId="{B58D14F3-8FFA-49A4-95B8-8353A105954B}" dt="2023-01-17T23:22:37.179" v="495" actId="27918"/>
        <pc:sldMkLst>
          <pc:docMk/>
          <pc:sldMk cId="473712435" sldId="305"/>
        </pc:sldMkLst>
      </pc:sld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Centralina</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formatCode="#,##0.00;[Red]#,##0.00">
                  <c:v>1</c:v>
                </c:pt>
                <c:pt idx="1">
                  <c:v>1.0296614164621738</c:v>
                </c:pt>
                <c:pt idx="2">
                  <c:v>1.0488104644749698</c:v>
                </c:pt>
                <c:pt idx="3">
                  <c:v>1.0728064327451223</c:v>
                </c:pt>
                <c:pt idx="4">
                  <c:v>1.1001916573563633</c:v>
                </c:pt>
                <c:pt idx="5">
                  <c:v>1.129464252190042</c:v>
                </c:pt>
                <c:pt idx="6">
                  <c:v>1.1613059066677902</c:v>
                </c:pt>
                <c:pt idx="7">
                  <c:v>1.1943382230851578</c:v>
                </c:pt>
                <c:pt idx="8">
                  <c:v>1.2275666190791268</c:v>
                </c:pt>
                <c:pt idx="9">
                  <c:v>1.2625405404954388</c:v>
                </c:pt>
                <c:pt idx="10">
                  <c:v>1.2943913731661345</c:v>
                </c:pt>
                <c:pt idx="11">
                  <c:v>1.32579581190712</c:v>
                </c:pt>
                <c:pt idx="12">
                  <c:v>1.3528748186263917</c:v>
                </c:pt>
                <c:pt idx="13">
                  <c:v>1.3779387948031403</c:v>
                </c:pt>
                <c:pt idx="14">
                  <c:v>1.4053298600826205</c:v>
                </c:pt>
                <c:pt idx="15">
                  <c:v>1.4445925007488571</c:v>
                </c:pt>
                <c:pt idx="16">
                  <c:v>1.4981063719187346</c:v>
                </c:pt>
                <c:pt idx="17">
                  <c:v>1.5525497437198215</c:v>
                </c:pt>
                <c:pt idx="18">
                  <c:v>1.5982963605127438</c:v>
                </c:pt>
                <c:pt idx="19">
                  <c:v>1.6285493532294306</c:v>
                </c:pt>
                <c:pt idx="20">
                  <c:v>1.646818963481639</c:v>
                </c:pt>
                <c:pt idx="21">
                  <c:v>1.6695575193180101</c:v>
                </c:pt>
                <c:pt idx="22">
                  <c:v>1.6963436582441449</c:v>
                </c:pt>
                <c:pt idx="23">
                  <c:v>1.7249178760326509</c:v>
                </c:pt>
                <c:pt idx="24">
                  <c:v>1.7528262576418887</c:v>
                </c:pt>
                <c:pt idx="25">
                  <c:v>1.7849774675363144</c:v>
                </c:pt>
                <c:pt idx="26">
                  <c:v>1.8193990286134336</c:v>
                </c:pt>
                <c:pt idx="27">
                  <c:v>1.8531630973230548</c:v>
                </c:pt>
                <c:pt idx="28">
                  <c:v>1.8807026824520461</c:v>
                </c:pt>
                <c:pt idx="29">
                  <c:v>1.9094429420947807</c:v>
                </c:pt>
                <c:pt idx="30">
                  <c:v>1.9353029179144141</c:v>
                </c:pt>
                <c:pt idx="31">
                  <c:v>1.9552312779465546</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29.342712167442407</c:v>
                </c:pt>
                <c:pt idx="1">
                  <c:v>33.386663253551774</c:v>
                </c:pt>
                <c:pt idx="2">
                  <c:v>38.653276595744678</c:v>
                </c:pt>
                <c:pt idx="3">
                  <c:v>90.752517745691989</c:v>
                </c:pt>
                <c:pt idx="4">
                  <c:v>38.745536228545099</c:v>
                </c:pt>
                <c:pt idx="5">
                  <c:v>41.353987562468866</c:v>
                </c:pt>
                <c:pt idx="6">
                  <c:v>56.522463949320667</c:v>
                </c:pt>
                <c:pt idx="7">
                  <c:v>63.245558094630738</c:v>
                </c:pt>
                <c:pt idx="8">
                  <c:v>11.824982997052823</c:v>
                </c:pt>
                <c:pt idx="9">
                  <c:v>66.8</c:v>
                </c:pt>
                <c:pt idx="10">
                  <c:v>50.9</c:v>
                </c:pt>
                <c:pt idx="11">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3.6786462246135638</c:v>
                </c:pt>
                <c:pt idx="1">
                  <c:v>17.034109816971714</c:v>
                </c:pt>
                <c:pt idx="2">
                  <c:v>6.1916595744680851</c:v>
                </c:pt>
                <c:pt idx="3">
                  <c:v>50.832106658825516</c:v>
                </c:pt>
                <c:pt idx="4">
                  <c:v>13.000806358714435</c:v>
                </c:pt>
                <c:pt idx="5">
                  <c:v>6.7517260957829155</c:v>
                </c:pt>
                <c:pt idx="6">
                  <c:v>18.738456543960552</c:v>
                </c:pt>
                <c:pt idx="7">
                  <c:v>18.262298276381287</c:v>
                </c:pt>
                <c:pt idx="8">
                  <c:v>2.7794150986170938</c:v>
                </c:pt>
                <c:pt idx="9">
                  <c:v>30.4</c:v>
                </c:pt>
                <c:pt idx="10">
                  <c:v>18</c:v>
                </c:pt>
                <c:pt idx="11">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41.016170934288006</c:v>
                </c:pt>
                <c:pt idx="1">
                  <c:v>69.013183156278004</c:v>
                </c:pt>
                <c:pt idx="2">
                  <c:v>56.332936170212768</c:v>
                </c:pt>
                <c:pt idx="3">
                  <c:v>7.4120425071852347</c:v>
                </c:pt>
                <c:pt idx="4">
                  <c:v>64.255270130169336</c:v>
                </c:pt>
                <c:pt idx="5">
                  <c:v>46.390979457374719</c:v>
                </c:pt>
                <c:pt idx="6">
                  <c:v>33.581641024291159</c:v>
                </c:pt>
                <c:pt idx="7">
                  <c:v>26.066854440133923</c:v>
                </c:pt>
                <c:pt idx="8">
                  <c:v>80.349127182044882</c:v>
                </c:pt>
                <c:pt idx="9">
                  <c:v>26</c:v>
                </c:pt>
                <c:pt idx="10">
                  <c:v>40.700000000000003</c:v>
                </c:pt>
                <c:pt idx="11">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9.0006821282401095</c:v>
                </c:pt>
                <c:pt idx="1">
                  <c:v>16.867846336008423</c:v>
                </c:pt>
                <c:pt idx="2">
                  <c:v>15.964551044825956</c:v>
                </c:pt>
                <c:pt idx="3">
                  <c:v>7.9583508651194883</c:v>
                </c:pt>
                <c:pt idx="4">
                  <c:v>14.383875400824554</c:v>
                </c:pt>
                <c:pt idx="5">
                  <c:v>11.714179488020646</c:v>
                </c:pt>
                <c:pt idx="6">
                  <c:v>15.059324340605157</c:v>
                </c:pt>
                <c:pt idx="7">
                  <c:v>10.347542356298039</c:v>
                </c:pt>
                <c:pt idx="8">
                  <c:v>18.426847950976637</c:v>
                </c:pt>
                <c:pt idx="9">
                  <c:v>10.4</c:v>
                </c:pt>
                <c:pt idx="10">
                  <c:v>13.2</c:v>
                </c:pt>
                <c:pt idx="11">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6.709896503366827</c:v>
                </c:pt>
                <c:pt idx="1">
                  <c:v>7.0132438054828938</c:v>
                </c:pt>
                <c:pt idx="2">
                  <c:v>8.5281385281385269</c:v>
                </c:pt>
                <c:pt idx="3">
                  <c:v>5.7247323122918292</c:v>
                </c:pt>
                <c:pt idx="4">
                  <c:v>8.2042999599934809</c:v>
                </c:pt>
                <c:pt idx="5">
                  <c:v>6.8746556668408942</c:v>
                </c:pt>
                <c:pt idx="6">
                  <c:v>7.4716496765283971</c:v>
                </c:pt>
                <c:pt idx="7">
                  <c:v>6.9273001728629522</c:v>
                </c:pt>
                <c:pt idx="8">
                  <c:v>7.7369548067170069</c:v>
                </c:pt>
                <c:pt idx="9">
                  <c:v>6.5</c:v>
                </c:pt>
                <c:pt idx="10">
                  <c:v>8</c:v>
                </c:pt>
                <c:pt idx="11">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29.47615390816253</c:v>
                </c:pt>
                <c:pt idx="1">
                  <c:v>19.921799575207572</c:v>
                </c:pt>
                <c:pt idx="2">
                  <c:v>29.093727706744218</c:v>
                </c:pt>
                <c:pt idx="3">
                  <c:v>54.41323397978536</c:v>
                </c:pt>
                <c:pt idx="4">
                  <c:v>15.955410295319254</c:v>
                </c:pt>
                <c:pt idx="5">
                  <c:v>25.089555078411649</c:v>
                </c:pt>
                <c:pt idx="6">
                  <c:v>29.585974161532434</c:v>
                </c:pt>
                <c:pt idx="7">
                  <c:v>37.436708860759495</c:v>
                </c:pt>
                <c:pt idx="8">
                  <c:v>55.677148472395928</c:v>
                </c:pt>
                <c:pt idx="9">
                  <c:v>41.4</c:v>
                </c:pt>
                <c:pt idx="10">
                  <c:v>37.9</c:v>
                </c:pt>
                <c:pt idx="11">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7.1825507682389595</c:v>
                </c:pt>
                <c:pt idx="1">
                  <c:v>13.32084728345543</c:v>
                </c:pt>
                <c:pt idx="2">
                  <c:v>16.751004299104942</c:v>
                </c:pt>
                <c:pt idx="3">
                  <c:v>10.566166470737386</c:v>
                </c:pt>
                <c:pt idx="4">
                  <c:v>10.696534991637812</c:v>
                </c:pt>
                <c:pt idx="5">
                  <c:v>9.7714273167411374</c:v>
                </c:pt>
                <c:pt idx="6">
                  <c:v>13.112779251134985</c:v>
                </c:pt>
                <c:pt idx="7">
                  <c:v>9.3878351088804717</c:v>
                </c:pt>
                <c:pt idx="8">
                  <c:v>18.29320825156751</c:v>
                </c:pt>
                <c:pt idx="9">
                  <c:v>10.8</c:v>
                </c:pt>
                <c:pt idx="10">
                  <c:v>13.7</c:v>
                </c:pt>
                <c:pt idx="11">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35.605877180686349</c:v>
                </c:pt>
                <c:pt idx="1">
                  <c:v>45.284136588668389</c:v>
                </c:pt>
                <c:pt idx="2">
                  <c:v>44.111020996665765</c:v>
                </c:pt>
                <c:pt idx="3">
                  <c:v>28.828961204145447</c:v>
                </c:pt>
                <c:pt idx="4">
                  <c:v>44.496943566724745</c:v>
                </c:pt>
                <c:pt idx="5">
                  <c:v>39.00557647125428</c:v>
                </c:pt>
                <c:pt idx="6">
                  <c:v>40.514034494420024</c:v>
                </c:pt>
                <c:pt idx="7">
                  <c:v>34.972721330718848</c:v>
                </c:pt>
                <c:pt idx="8">
                  <c:v>46.665075766614962</c:v>
                </c:pt>
                <c:pt idx="9">
                  <c:v>34.200000000000003</c:v>
                </c:pt>
                <c:pt idx="10">
                  <c:v>39.700000000000003</c:v>
                </c:pt>
                <c:pt idx="11">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43.52462503026517</c:v>
                </c:pt>
                <c:pt idx="1">
                  <c:v>29.78483476494732</c:v>
                </c:pt>
                <c:pt idx="2">
                  <c:v>31.629849508876273</c:v>
                </c:pt>
                <c:pt idx="3">
                  <c:v>31.24298928740339</c:v>
                </c:pt>
                <c:pt idx="4">
                  <c:v>30.588796031066352</c:v>
                </c:pt>
                <c:pt idx="5">
                  <c:v>34.026200922806908</c:v>
                </c:pt>
                <c:pt idx="6">
                  <c:v>30.940976214631938</c:v>
                </c:pt>
                <c:pt idx="7">
                  <c:v>37.646129630370687</c:v>
                </c:pt>
                <c:pt idx="8">
                  <c:v>25.991528457224678</c:v>
                </c:pt>
                <c:pt idx="9">
                  <c:v>33</c:v>
                </c:pt>
                <c:pt idx="10">
                  <c:v>30</c:v>
                </c:pt>
                <c:pt idx="11">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15.383635135651751</c:v>
                </c:pt>
                <c:pt idx="1">
                  <c:v>5.3738416620826808</c:v>
                </c:pt>
                <c:pt idx="2">
                  <c:v>9.002433090024331</c:v>
                </c:pt>
                <c:pt idx="3">
                  <c:v>19.038850955776677</c:v>
                </c:pt>
                <c:pt idx="4">
                  <c:v>8.0382718601423395</c:v>
                </c:pt>
                <c:pt idx="5">
                  <c:v>11.055283494211226</c:v>
                </c:pt>
                <c:pt idx="6">
                  <c:v>8.2538608950512895</c:v>
                </c:pt>
                <c:pt idx="7">
                  <c:v>13.820747795696771</c:v>
                </c:pt>
                <c:pt idx="8">
                  <c:v>5.5124686791552326</c:v>
                </c:pt>
                <c:pt idx="9">
                  <c:v>14.9</c:v>
                </c:pt>
                <c:pt idx="10">
                  <c:v>12</c:v>
                </c:pt>
                <c:pt idx="11">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B$2:$B$4</c:f>
              <c:numCache>
                <c:formatCode>#,##0.0</c:formatCode>
                <c:ptCount val="3"/>
                <c:pt idx="0">
                  <c:v>58.608979677617803</c:v>
                </c:pt>
                <c:pt idx="1">
                  <c:v>62.061419373856829</c:v>
                </c:pt>
                <c:pt idx="2">
                  <c:v>59.446533948645595</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C$2:$C$4</c:f>
              <c:numCache>
                <c:formatCode>#,##0.0</c:formatCode>
                <c:ptCount val="3"/>
                <c:pt idx="0">
                  <c:v>22.47327529023374</c:v>
                </c:pt>
                <c:pt idx="1">
                  <c:v>20.840642568328686</c:v>
                </c:pt>
                <c:pt idx="2">
                  <c:v>12.190838839052297</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D$2:$D$4</c:f>
              <c:numCache>
                <c:formatCode>#,##0.0</c:formatCode>
                <c:ptCount val="3"/>
                <c:pt idx="0">
                  <c:v>4.207081199771447</c:v>
                </c:pt>
                <c:pt idx="1">
                  <c:v>3.0106138484127842</c:v>
                </c:pt>
                <c:pt idx="2">
                  <c:v>5.6273166828741399</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E$2:$E$4</c:f>
              <c:numCache>
                <c:formatCode>#,##0.0</c:formatCode>
                <c:ptCount val="3"/>
                <c:pt idx="0">
                  <c:v>11.298219958098631</c:v>
                </c:pt>
                <c:pt idx="1">
                  <c:v>9.8073487256031662</c:v>
                </c:pt>
                <c:pt idx="2">
                  <c:v>18.441695441790866</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F$2:$F$4</c:f>
              <c:numCache>
                <c:formatCode>#,##0.0</c:formatCode>
                <c:ptCount val="3"/>
                <c:pt idx="0">
                  <c:v>3.4124438742783809</c:v>
                </c:pt>
                <c:pt idx="1">
                  <c:v>4.2799754837985375</c:v>
                </c:pt>
                <c:pt idx="2">
                  <c:v>4.2936150876370931</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10.153628144370575</c:v>
                </c:pt>
                <c:pt idx="1">
                  <c:v>3.5286734890905578</c:v>
                </c:pt>
                <c:pt idx="2">
                  <c:v>4.7961367502606596</c:v>
                </c:pt>
                <c:pt idx="3">
                  <c:v>15.951094657143065</c:v>
                </c:pt>
                <c:pt idx="4">
                  <c:v>5.3542663709583289</c:v>
                </c:pt>
                <c:pt idx="5">
                  <c:v>6.6936645557578887</c:v>
                </c:pt>
                <c:pt idx="6">
                  <c:v>5.2349212948424793</c:v>
                </c:pt>
                <c:pt idx="7">
                  <c:v>8.5239602169981907</c:v>
                </c:pt>
                <c:pt idx="8">
                  <c:v>2.7782740753975346</c:v>
                </c:pt>
                <c:pt idx="9">
                  <c:v>11.3</c:v>
                </c:pt>
                <c:pt idx="10">
                  <c:v>8.1999999999999993</c:v>
                </c:pt>
                <c:pt idx="11">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1.3237771350475163</c:v>
                </c:pt>
                <c:pt idx="1">
                  <c:v>4.2287822878228782</c:v>
                </c:pt>
                <c:pt idx="2">
                  <c:v>5.388502064206051</c:v>
                </c:pt>
                <c:pt idx="3">
                  <c:v>4.0292912494524362</c:v>
                </c:pt>
                <c:pt idx="4">
                  <c:v>4.2701092353525327</c:v>
                </c:pt>
                <c:pt idx="5">
                  <c:v>2.4662986566845935</c:v>
                </c:pt>
                <c:pt idx="6">
                  <c:v>4.7260086708588842</c:v>
                </c:pt>
                <c:pt idx="7">
                  <c:v>4.2978475447177447</c:v>
                </c:pt>
                <c:pt idx="8">
                  <c:v>4.0502490794888457</c:v>
                </c:pt>
                <c:pt idx="9">
                  <c:v>3.8</c:v>
                </c:pt>
                <c:pt idx="10">
                  <c:v>5.7</c:v>
                </c:pt>
                <c:pt idx="11">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11.391927574500189</c:v>
                </c:pt>
                <c:pt idx="1">
                  <c:v>18.233315631085148</c:v>
                </c:pt>
                <c:pt idx="2">
                  <c:v>18.872549019607842</c:v>
                </c:pt>
                <c:pt idx="3">
                  <c:v>9.6264744429882043</c:v>
                </c:pt>
                <c:pt idx="4">
                  <c:v>16.241284041573479</c:v>
                </c:pt>
                <c:pt idx="5">
                  <c:v>12.788471579240488</c:v>
                </c:pt>
                <c:pt idx="6">
                  <c:v>17.408585055643879</c:v>
                </c:pt>
                <c:pt idx="7">
                  <c:v>12.188835140002119</c:v>
                </c:pt>
                <c:pt idx="8">
                  <c:v>24.900891972249752</c:v>
                </c:pt>
                <c:pt idx="9">
                  <c:v>12.9</c:v>
                </c:pt>
                <c:pt idx="10">
                  <c:v>15.9</c:v>
                </c:pt>
                <c:pt idx="11">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11.293618528262924</c:v>
                </c:pt>
                <c:pt idx="1">
                  <c:v>9.953448789571695</c:v>
                </c:pt>
                <c:pt idx="2">
                  <c:v>5.9745803940285942</c:v>
                </c:pt>
                <c:pt idx="3">
                  <c:v>9.3429786261603613</c:v>
                </c:pt>
                <c:pt idx="4">
                  <c:v>10.372939258124013</c:v>
                </c:pt>
                <c:pt idx="5">
                  <c:v>9.1501321903131085</c:v>
                </c:pt>
                <c:pt idx="6">
                  <c:v>6.1440991309828759</c:v>
                </c:pt>
                <c:pt idx="7">
                  <c:v>6.2340017844942928</c:v>
                </c:pt>
                <c:pt idx="8">
                  <c:v>2.9992638745218789</c:v>
                </c:pt>
                <c:pt idx="9">
                  <c:v>8.6999999999999993</c:v>
                </c:pt>
                <c:pt idx="10">
                  <c:v>6.8</c:v>
                </c:pt>
                <c:pt idx="11">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4.6754934818345157</c:v>
                </c:pt>
                <c:pt idx="1">
                  <c:v>23.010197605043796</c:v>
                </c:pt>
                <c:pt idx="2">
                  <c:v>13.079210597458774</c:v>
                </c:pt>
                <c:pt idx="3">
                  <c:v>9.0877992111341204</c:v>
                </c:pt>
                <c:pt idx="4">
                  <c:v>19.206803886247524</c:v>
                </c:pt>
                <c:pt idx="5">
                  <c:v>15.189515101763524</c:v>
                </c:pt>
                <c:pt idx="6">
                  <c:v>29.152293991658212</c:v>
                </c:pt>
                <c:pt idx="7">
                  <c:v>11.55575119719343</c:v>
                </c:pt>
                <c:pt idx="8">
                  <c:v>16.871495048323588</c:v>
                </c:pt>
                <c:pt idx="9">
                  <c:v>12.5</c:v>
                </c:pt>
                <c:pt idx="10">
                  <c:v>20.7</c:v>
                </c:pt>
                <c:pt idx="11">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Union</c:v>
                </c:pt>
                <c:pt idx="1">
                  <c:v>Stanly</c:v>
                </c:pt>
                <c:pt idx="2">
                  <c:v>Rowan</c:v>
                </c:pt>
                <c:pt idx="3">
                  <c:v>Mecklenburg</c:v>
                </c:pt>
                <c:pt idx="4">
                  <c:v>Lincoln</c:v>
                </c:pt>
                <c:pt idx="5">
                  <c:v>Iredell</c:v>
                </c:pt>
                <c:pt idx="6">
                  <c:v>Gaston</c:v>
                </c:pt>
                <c:pt idx="7">
                  <c:v>Cabarrus</c:v>
                </c:pt>
                <c:pt idx="8">
                  <c:v>Anson</c:v>
                </c:pt>
                <c:pt idx="9">
                  <c:v>Centralina</c:v>
                </c:pt>
                <c:pt idx="10">
                  <c:v>North Carolina</c:v>
                </c:pt>
                <c:pt idx="11">
                  <c:v>United States</c:v>
                </c:pt>
              </c:strCache>
            </c:strRef>
          </c:cat>
          <c:val>
            <c:numRef>
              <c:f>Sheet1!$B$2:$B$13</c:f>
              <c:numCache>
                <c:formatCode>0.0</c:formatCode>
                <c:ptCount val="12"/>
                <c:pt idx="0">
                  <c:v>11.798962700546685</c:v>
                </c:pt>
                <c:pt idx="1">
                  <c:v>29.750772225278212</c:v>
                </c:pt>
                <c:pt idx="2">
                  <c:v>37.855276200774988</c:v>
                </c:pt>
                <c:pt idx="3">
                  <c:v>3.6274973482535207</c:v>
                </c:pt>
                <c:pt idx="4">
                  <c:v>25.851224049847914</c:v>
                </c:pt>
                <c:pt idx="5">
                  <c:v>10.775044583463075</c:v>
                </c:pt>
                <c:pt idx="6">
                  <c:v>30.114981400067638</c:v>
                </c:pt>
                <c:pt idx="7">
                  <c:v>10.359224725545907</c:v>
                </c:pt>
                <c:pt idx="8">
                  <c:v>81.123970886529051</c:v>
                </c:pt>
                <c:pt idx="9">
                  <c:v>12.7</c:v>
                </c:pt>
                <c:pt idx="10">
                  <c:v>29.7</c:v>
                </c:pt>
                <c:pt idx="11">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entralina</c:v>
                </c:pt>
              </c:strCache>
            </c:strRef>
          </c:cat>
          <c:val>
            <c:numRef>
              <c:f>Sheet1!$B$2:$B$4</c:f>
              <c:numCache>
                <c:formatCode>0.00</c:formatCode>
                <c:ptCount val="3"/>
                <c:pt idx="0">
                  <c:v>3.9456284717007351</c:v>
                </c:pt>
                <c:pt idx="1">
                  <c:v>4.4296238962062287</c:v>
                </c:pt>
                <c:pt idx="2">
                  <c:v>7.25</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entralina</c:v>
                </c:pt>
              </c:strCache>
            </c:strRef>
          </c:cat>
          <c:val>
            <c:numRef>
              <c:f>Sheet1!$B$2:$B$4</c:f>
              <c:numCache>
                <c:formatCode>0.0</c:formatCode>
                <c:ptCount val="3"/>
                <c:pt idx="0">
                  <c:v>9.6993852410295798</c:v>
                </c:pt>
                <c:pt idx="1">
                  <c:v>10.285900434333007</c:v>
                </c:pt>
                <c:pt idx="2" formatCode="#,##0.0">
                  <c:v>13.3</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entralina</c:v>
                </c:pt>
              </c:strCache>
            </c:strRef>
          </c:cat>
          <c:val>
            <c:numRef>
              <c:f>Sheet1!$C$2:$C$4</c:f>
              <c:numCache>
                <c:formatCode>0.0</c:formatCode>
                <c:ptCount val="3"/>
                <c:pt idx="0">
                  <c:v>9.5092908053327836</c:v>
                </c:pt>
                <c:pt idx="1">
                  <c:v>10.158199176779275</c:v>
                </c:pt>
                <c:pt idx="2" formatCode="#,##0.0">
                  <c:v>13.3</c:v>
                </c:pt>
              </c:numCache>
            </c:numRef>
          </c:val>
          <c:extLst>
            <c:ext xmlns:c16="http://schemas.microsoft.com/office/drawing/2014/chart" uri="{C3380CC4-5D6E-409C-BE32-E72D297353CC}">
              <c16:uniqueId val="{00000001-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entralina</c:v>
                </c:pt>
              </c:strCache>
            </c:strRef>
          </c:cat>
          <c:val>
            <c:numRef>
              <c:f>Sheet1!$B$2:$B$4</c:f>
              <c:numCache>
                <c:formatCode>0.0</c:formatCode>
                <c:ptCount val="3"/>
                <c:pt idx="0">
                  <c:v>35.163543124718231</c:v>
                </c:pt>
                <c:pt idx="1">
                  <c:v>32.670704756158578</c:v>
                </c:pt>
                <c:pt idx="2">
                  <c:v>34.299999999999997</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entralina</c:v>
                </c:pt>
              </c:strCache>
            </c:strRef>
          </c:cat>
          <c:val>
            <c:numRef>
              <c:f>Sheet1!$C$2:$C$4</c:f>
              <c:numCache>
                <c:formatCode>0.0</c:formatCode>
                <c:ptCount val="3"/>
                <c:pt idx="0">
                  <c:v>9.5092908053327836</c:v>
                </c:pt>
                <c:pt idx="1">
                  <c:v>10.158199176779275</c:v>
                </c:pt>
                <c:pt idx="2">
                  <c:v>13.3</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entralina</c:v>
                </c:pt>
              </c:strCache>
            </c:strRef>
          </c:cat>
          <c:val>
            <c:numRef>
              <c:f>Sheet1!$B$2:$B$4</c:f>
              <c:numCache>
                <c:formatCode>0.0</c:formatCode>
                <c:ptCount val="3"/>
                <c:pt idx="0">
                  <c:v>3.4315339366940902</c:v>
                </c:pt>
                <c:pt idx="1">
                  <c:v>3.1906212529243381</c:v>
                </c:pt>
                <c:pt idx="2" formatCode="#,##0.0">
                  <c:v>3.3</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B$2:$B$4</c:f>
              <c:numCache>
                <c:formatCode>#,##0.0</c:formatCode>
                <c:ptCount val="3"/>
                <c:pt idx="0">
                  <c:v>23.656759058379507</c:v>
                </c:pt>
                <c:pt idx="1">
                  <c:v>22.208065151207357</c:v>
                </c:pt>
                <c:pt idx="2">
                  <c:v>22.513903012548795</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C$2:$C$4</c:f>
              <c:numCache>
                <c:formatCode>#,##0.0</c:formatCode>
                <c:ptCount val="3"/>
                <c:pt idx="0">
                  <c:v>8.5544466020267649</c:v>
                </c:pt>
                <c:pt idx="1">
                  <c:v>9.4514220187822495</c:v>
                </c:pt>
                <c:pt idx="2">
                  <c:v>9.2013176864544484</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D$2:$D$4</c:f>
              <c:numCache>
                <c:formatCode>#,##0.0</c:formatCode>
                <c:ptCount val="3"/>
                <c:pt idx="0">
                  <c:v>42.221035187078442</c:v>
                </c:pt>
                <c:pt idx="1">
                  <c:v>39.051455663931264</c:v>
                </c:pt>
                <c:pt idx="2">
                  <c:v>39.255165420472913</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E$2:$E$4</c:f>
              <c:numCache>
                <c:formatCode>#,##0.0</c:formatCode>
                <c:ptCount val="3"/>
                <c:pt idx="0">
                  <c:v>12.215496500557151</c:v>
                </c:pt>
                <c:pt idx="1">
                  <c:v>13.023682210764095</c:v>
                </c:pt>
                <c:pt idx="2">
                  <c:v>12.989415579926018</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F$2:$F$4</c:f>
              <c:numCache>
                <c:formatCode>#,##0.0</c:formatCode>
                <c:ptCount val="3"/>
                <c:pt idx="0">
                  <c:v>13.352262651958133</c:v>
                </c:pt>
                <c:pt idx="1">
                  <c:v>16.265374955315039</c:v>
                </c:pt>
                <c:pt idx="2">
                  <c:v>16.040198300597826</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entralina</c:v>
                </c:pt>
              </c:strCache>
            </c:strRef>
          </c:cat>
          <c:val>
            <c:numRef>
              <c:f>Sheet1!$B$2:$B$4</c:f>
              <c:numCache>
                <c:formatCode>0.0</c:formatCode>
                <c:ptCount val="3"/>
                <c:pt idx="0">
                  <c:v>28.70828963274613</c:v>
                </c:pt>
                <c:pt idx="1">
                  <c:v>28.399462765329204</c:v>
                </c:pt>
                <c:pt idx="2">
                  <c:v>28</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entralina</c:v>
                </c:pt>
              </c:strCache>
            </c:strRef>
          </c:cat>
          <c:val>
            <c:numRef>
              <c:f>Sheet1!$C$2:$C$4</c:f>
              <c:numCache>
                <c:formatCode>0.0</c:formatCode>
                <c:ptCount val="3"/>
                <c:pt idx="0">
                  <c:v>41.555902088108759</c:v>
                </c:pt>
                <c:pt idx="1">
                  <c:v>42.725477774104526</c:v>
                </c:pt>
                <c:pt idx="2">
                  <c:v>40.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Centralina</c:v>
                </c:pt>
              </c:strCache>
            </c:strRef>
          </c:cat>
          <c:val>
            <c:numRef>
              <c:f>Sheet1!$D$2:$D$4</c:f>
              <c:numCache>
                <c:formatCode>0.0</c:formatCode>
                <c:ptCount val="3"/>
                <c:pt idx="0">
                  <c:v>29.735808279145072</c:v>
                </c:pt>
                <c:pt idx="1">
                  <c:v>28.875059460566249</c:v>
                </c:pt>
                <c:pt idx="2">
                  <c:v>31.6</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B$2:$B$4</c:f>
              <c:numCache>
                <c:formatCode>#,##0.0</c:formatCode>
                <c:ptCount val="3"/>
                <c:pt idx="0">
                  <c:v>10.207446849737639</c:v>
                </c:pt>
                <c:pt idx="1">
                  <c:v>10.962591300115909</c:v>
                </c:pt>
                <c:pt idx="2">
                  <c:v>11.12595967644428</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C$2:$C$4</c:f>
              <c:numCache>
                <c:formatCode>#,##0.0</c:formatCode>
                <c:ptCount val="3"/>
                <c:pt idx="0">
                  <c:v>22.581013943466569</c:v>
                </c:pt>
                <c:pt idx="1">
                  <c:v>25.231126134035375</c:v>
                </c:pt>
                <c:pt idx="2">
                  <c:v>26.487129599470212</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D$2:$D$4</c:f>
              <c:numCache>
                <c:formatCode>#,##0.0</c:formatCode>
                <c:ptCount val="3"/>
                <c:pt idx="0">
                  <c:v>29.838811769660232</c:v>
                </c:pt>
                <c:pt idx="1">
                  <c:v>30.789995477690791</c:v>
                </c:pt>
                <c:pt idx="2">
                  <c:v>28.716889020511388</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ntralina</c:v>
                </c:pt>
                <c:pt idx="1">
                  <c:v>North Carolina</c:v>
                </c:pt>
                <c:pt idx="2">
                  <c:v>United States</c:v>
                </c:pt>
              </c:strCache>
            </c:strRef>
          </c:cat>
          <c:val>
            <c:numRef>
              <c:f>Sheet1!$E$2:$E$4</c:f>
              <c:numCache>
                <c:formatCode>#,##0.0</c:formatCode>
                <c:ptCount val="3"/>
                <c:pt idx="0">
                  <c:v>37.372727437135552</c:v>
                </c:pt>
                <c:pt idx="1">
                  <c:v>33.016287088157931</c:v>
                </c:pt>
                <c:pt idx="2">
                  <c:v>33.670021703574122</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Centra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5.3620681078272598</c:v>
                </c:pt>
                <c:pt idx="1">
                  <c:v>4.8130185578580305</c:v>
                </c:pt>
                <c:pt idx="2">
                  <c:v>4.309511444892741</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Centra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3.6</c:v>
                </c:pt>
                <c:pt idx="1">
                  <c:v>6.3</c:v>
                </c:pt>
                <c:pt idx="2">
                  <c:v>4</c:v>
                </c:pt>
                <c:pt idx="3">
                  <c:v>6.9</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Centra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3.2</c:v>
                </c:pt>
                <c:pt idx="1">
                  <c:v>4.5</c:v>
                </c:pt>
                <c:pt idx="2">
                  <c:v>6.6</c:v>
                </c:pt>
                <c:pt idx="3">
                  <c:v>4.5999999999999996</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Centra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27.975071463521413</c:v>
                </c:pt>
                <c:pt idx="1">
                  <c:v>32.892332789559539</c:v>
                </c:pt>
                <c:pt idx="2">
                  <c:v>21.371563417301385</c:v>
                </c:pt>
                <c:pt idx="3">
                  <c:v>11.502075309426765</c:v>
                </c:pt>
                <c:pt idx="4">
                  <c:v>6.9045382186382733</c:v>
                </c:pt>
                <c:pt idx="5" formatCode="0.0">
                  <c:v>3.0147888314823637</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Central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c:formatCode>
                <c:ptCount val="4"/>
                <c:pt idx="0">
                  <c:v>9.4</c:v>
                </c:pt>
                <c:pt idx="1">
                  <c:v>8.5</c:v>
                </c:pt>
                <c:pt idx="2">
                  <c:v>13.4</c:v>
                </c:pt>
                <c:pt idx="3">
                  <c:v>5.7</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9.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chart" Target="../charts/chart6.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chart" Target="../charts/chart7.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Centralina Regional Councils</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35748264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66749380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9" name="Picture 8" descr="Map&#10;&#10;Description automatically generated">
            <a:extLst>
              <a:ext uri="{FF2B5EF4-FFF2-40B4-BE49-F238E27FC236}">
                <a16:creationId xmlns:a16="http://schemas.microsoft.com/office/drawing/2014/main" id="{5E7800F7-9CC1-0036-BBE3-DF2C21CF61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9" name="Picture 8" descr="Map&#10;&#10;Description automatically generated">
            <a:extLst>
              <a:ext uri="{FF2B5EF4-FFF2-40B4-BE49-F238E27FC236}">
                <a16:creationId xmlns:a16="http://schemas.microsoft.com/office/drawing/2014/main" id="{6E966F0B-953B-8A85-694F-93EFD60E3B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C71CB705-CD41-D3E6-5F84-C7059E4584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6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239715933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10" name="Picture 9" descr="Map&#10;&#10;Description automatically generated">
            <a:extLst>
              <a:ext uri="{FF2B5EF4-FFF2-40B4-BE49-F238E27FC236}">
                <a16:creationId xmlns:a16="http://schemas.microsoft.com/office/drawing/2014/main" id="{D1E71CBC-E82F-97AF-BC53-5CEA892CA5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420326946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23497DC1-23CC-E188-1CAB-0C7646F217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26865235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Map&#10;&#10;Description automatically generated">
            <a:extLst>
              <a:ext uri="{FF2B5EF4-FFF2-40B4-BE49-F238E27FC236}">
                <a16:creationId xmlns:a16="http://schemas.microsoft.com/office/drawing/2014/main" id="{D5FBAD5B-FABB-AF66-1C85-C036EEAF25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
        <p:nvSpPr>
          <p:cNvPr id="5" name="TextBox 4">
            <a:extLst>
              <a:ext uri="{FF2B5EF4-FFF2-40B4-BE49-F238E27FC236}">
                <a16:creationId xmlns:a16="http://schemas.microsoft.com/office/drawing/2014/main" id="{E7EF701F-592D-1647-ECD9-AA90DD53FF91}"/>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41826228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59CC8532-F288-791A-EFE6-B1A2416FC7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22283739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a:extLst>
              <a:ext uri="{FF2B5EF4-FFF2-40B4-BE49-F238E27FC236}">
                <a16:creationId xmlns:a16="http://schemas.microsoft.com/office/drawing/2014/main" id="{C32BC25F-56EF-64BD-519C-17FB66BF21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84311078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F66195C6-879A-5A62-C42A-A210692231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1333" y="1160988"/>
            <a:ext cx="7222067" cy="5107136"/>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39526603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D266E385-4DFE-4CA1-3BA2-8FC8AB6D06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08295013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617C5CCF-BB89-47AC-8CDC-827301D32F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91075464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828FE092-91FC-0861-5279-E886D1A66A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1333" y="1160988"/>
            <a:ext cx="7222067" cy="5107136"/>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18330042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B467A300-443B-2A89-6450-C65A5FD24F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70658533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80C86FF7-A14F-877B-297D-2CCC5D131F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2558" y="1165180"/>
            <a:ext cx="7210209" cy="509875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91454512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EC37CC93-4D82-B5A6-40D1-21ADAC23DE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8465741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277FFAB3-CF3A-2E34-ED77-74E8C91275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7"/>
            <a:ext cx="7222067" cy="5107137"/>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18169154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8" name="Picture 7" descr="Map&#10;&#10;Description automatically generated">
            <a:extLst>
              <a:ext uri="{FF2B5EF4-FFF2-40B4-BE49-F238E27FC236}">
                <a16:creationId xmlns:a16="http://schemas.microsoft.com/office/drawing/2014/main" id="{2244EBF2-674F-0118-C752-EBDDBDF406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7"/>
            <a:ext cx="7222067" cy="5107137"/>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93525717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9" name="Picture 8" descr="Map&#10;&#10;Description automatically generated">
            <a:extLst>
              <a:ext uri="{FF2B5EF4-FFF2-40B4-BE49-F238E27FC236}">
                <a16:creationId xmlns:a16="http://schemas.microsoft.com/office/drawing/2014/main" id="{5D042F5E-769F-0295-794B-C2C5B4C383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1806821271"/>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24354603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descr="Map&#10;&#10;Description automatically generated">
            <a:extLst>
              <a:ext uri="{FF2B5EF4-FFF2-40B4-BE49-F238E27FC236}">
                <a16:creationId xmlns:a16="http://schemas.microsoft.com/office/drawing/2014/main" id="{D0056C1A-1D3E-01C7-5208-26577D1147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26803195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43162566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15724159"/>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42626" y="269058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1.1</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75338" y="410983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84863" y="209467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11132175" y="2094675"/>
            <a:ext cx="0" cy="59590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32175" y="3552580"/>
            <a:ext cx="0" cy="55054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189511"/>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189511"/>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99127256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36842556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372842711"/>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1263846506"/>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2348917568"/>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9513664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09713775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4049034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20</TotalTime>
  <Words>1476</Words>
  <Application>Microsoft Office PowerPoint</Application>
  <PresentationFormat>Widescreen</PresentationFormat>
  <Paragraphs>141</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2-23T00:55:26Z</dcterms:modified>
</cp:coreProperties>
</file>